
<file path=[Content_Types].xml><?xml version="1.0" encoding="utf-8"?>
<Types xmlns="http://schemas.openxmlformats.org/package/2006/content-types">
  <Override PartName="/ppt/slideLayouts/slideLayout57.xml" ContentType="application/vnd.openxmlformats-officedocument.presentationml.slideLayout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Default Extension="emf" ContentType="image/x-emf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notesSlides/notesSlide4.xml" ContentType="application/vnd.openxmlformats-officedocument.presentationml.notesSlide+xml"/>
  <Override PartName="/ppt/tags/tag153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notesSlides/notesSlide1.xml" ContentType="application/vnd.openxmlformats-officedocument.presentationml.notesSlide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notesSlides/notesSlide6.xml" ContentType="application/vnd.openxmlformats-officedocument.presentationml.notesSlide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Layouts/slideLayout58.xml" ContentType="application/vnd.openxmlformats-officedocument.presentationml.slideLayout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6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1" r:id="rId1"/>
  </p:sldMasterIdLst>
  <p:notesMasterIdLst>
    <p:notesMasterId r:id="rId25"/>
  </p:notesMasterIdLst>
  <p:handoutMasterIdLst>
    <p:handoutMasterId r:id="rId26"/>
  </p:handoutMasterIdLst>
  <p:sldIdLst>
    <p:sldId id="454" r:id="rId2"/>
    <p:sldId id="470" r:id="rId3"/>
    <p:sldId id="257" r:id="rId4"/>
    <p:sldId id="326" r:id="rId5"/>
    <p:sldId id="522" r:id="rId6"/>
    <p:sldId id="544" r:id="rId7"/>
    <p:sldId id="274" r:id="rId8"/>
    <p:sldId id="478" r:id="rId9"/>
    <p:sldId id="535" r:id="rId10"/>
    <p:sldId id="545" r:id="rId11"/>
    <p:sldId id="550" r:id="rId12"/>
    <p:sldId id="453" r:id="rId13"/>
    <p:sldId id="528" r:id="rId14"/>
    <p:sldId id="458" r:id="rId15"/>
    <p:sldId id="527" r:id="rId16"/>
    <p:sldId id="529" r:id="rId17"/>
    <p:sldId id="549" r:id="rId18"/>
    <p:sldId id="553" r:id="rId19"/>
    <p:sldId id="552" r:id="rId20"/>
    <p:sldId id="548" r:id="rId21"/>
    <p:sldId id="531" r:id="rId22"/>
    <p:sldId id="551" r:id="rId23"/>
    <p:sldId id="304" r:id="rId24"/>
  </p:sldIdLst>
  <p:sldSz cx="12192000" cy="6858000"/>
  <p:notesSz cx="9236075" cy="6950075"/>
  <p:custShowLst>
    <p:custShow name="Format Guide Workshop" id="0">
      <p:sldLst/>
    </p:custShow>
  </p:custShowLst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crosoft Office User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FFFF00"/>
    <a:srgbClr val="EBE60E"/>
    <a:srgbClr val="98A6CC"/>
    <a:srgbClr val="6E6F73"/>
    <a:srgbClr val="595959"/>
    <a:srgbClr val="EB1E0E"/>
    <a:srgbClr val="EB1E8C"/>
    <a:srgbClr val="F6F42E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68" autoAdjust="0"/>
    <p:restoredTop sz="96187" autoAdjust="0"/>
  </p:normalViewPr>
  <p:slideViewPr>
    <p:cSldViewPr snapToGrid="0">
      <p:cViewPr varScale="1">
        <p:scale>
          <a:sx n="122" d="100"/>
          <a:sy n="122" d="100"/>
        </p:scale>
        <p:origin x="-144" y="-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-13934"/>
    </p:cViewPr>
  </p:sorterViewPr>
  <p:notesViewPr>
    <p:cSldViewPr snapToGrid="0">
      <p:cViewPr varScale="1">
        <p:scale>
          <a:sx n="67" d="100"/>
          <a:sy n="67" d="100"/>
        </p:scale>
        <p:origin x="1152" y="40"/>
      </p:cViewPr>
      <p:guideLst/>
    </p:cSldViewPr>
  </p:notesViewPr>
  <p:gridSpacing cx="40551100" cy="40551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02088" cy="34925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32400" y="0"/>
            <a:ext cx="4002088" cy="34925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EFB2788E-ACE7-4EE4-8FD9-871240FEAEFA}" type="datetimeFigureOut">
              <a:rPr lang="en-US"/>
              <a:pPr>
                <a:defRPr/>
              </a:pPr>
              <a:t>2/28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600825"/>
            <a:ext cx="4002088" cy="34925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32400" y="6600825"/>
            <a:ext cx="4002088" cy="34925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+mn-lt"/>
                <a:cs typeface="+mn-cs"/>
              </a:defRPr>
            </a:lvl1pPr>
          </a:lstStyle>
          <a:p>
            <a:pPr>
              <a:defRPr/>
            </a:pPr>
            <a:fld id="{B4203479-5B73-4488-BD81-9169C574A35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407025"/>
            <a:ext cx="9234488" cy="1543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09538" y="0"/>
            <a:ext cx="3892550" cy="34925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dirty="0">
                <a:latin typeface="PT Sans Caption" panose="020B0603020203020204" charset="0"/>
                <a:cs typeface="+mn-cs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2400" y="0"/>
            <a:ext cx="3894138" cy="34925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 smtClean="0">
                <a:latin typeface="PT Sans Caption" panose="020B0603020203020204" charset="0"/>
                <a:cs typeface="+mn-cs"/>
                <a:sym typeface="PT Sans Caption" panose="020B0603020203020204" charset="0"/>
              </a:defRPr>
            </a:lvl1pPr>
          </a:lstStyle>
          <a:p>
            <a:pPr>
              <a:defRPr/>
            </a:pPr>
            <a:fld id="{A1D07AE4-D0B1-413F-8D27-84340BA523F7}" type="datetimeFigureOut">
              <a:rPr lang="en-US"/>
              <a:pPr>
                <a:defRPr/>
              </a:pPr>
              <a:t>2/2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209550"/>
            <a:ext cx="9017000" cy="507206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pPr lvl="0"/>
            <a:endParaRPr lang="en-US" noProof="0" dirty="0">
              <a:sym typeface="PT Sans Caption" panose="020B060302020302020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23825" y="5491163"/>
            <a:ext cx="8988425" cy="67468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noProof="0" dirty="0">
                <a:sym typeface="PT Sans Caption" panose="020B0603020203020204" charset="0"/>
              </a:rPr>
              <a:t>Edit Master text styles</a:t>
            </a:r>
          </a:p>
          <a:p>
            <a:pPr lvl="1"/>
            <a:r>
              <a:rPr lang="en-US" noProof="0" dirty="0">
                <a:sym typeface="PT Sans Caption" panose="020B0603020203020204" charset="0"/>
              </a:rPr>
              <a:t>Second level</a:t>
            </a:r>
          </a:p>
          <a:p>
            <a:pPr lvl="2"/>
            <a:r>
              <a:rPr lang="en-US" noProof="0" dirty="0">
                <a:sym typeface="PT Sans Caption" panose="020B0603020203020204" charset="0"/>
              </a:rPr>
              <a:t>Third level</a:t>
            </a:r>
          </a:p>
          <a:p>
            <a:pPr lvl="3"/>
            <a:r>
              <a:rPr lang="en-US" noProof="0" dirty="0">
                <a:sym typeface="PT Sans Caption" panose="020B0603020203020204" charset="0"/>
              </a:rPr>
              <a:t>Fourth level</a:t>
            </a:r>
          </a:p>
          <a:p>
            <a:pPr lvl="4"/>
            <a:r>
              <a:rPr lang="en-US" noProof="0" dirty="0">
                <a:sym typeface="PT Sans Caption" panose="020B0603020203020204" charset="0"/>
              </a:rP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09538" y="6600825"/>
            <a:ext cx="3892550" cy="34925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 dirty="0">
                <a:latin typeface="PT Sans Caption" panose="020B0603020203020204" charset="0"/>
                <a:cs typeface="+mn-cs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2400" y="6600825"/>
            <a:ext cx="3879850" cy="349250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latin typeface="PT Sans Caption" panose="020B0603020203020204" charset="0"/>
                <a:cs typeface="+mn-cs"/>
                <a:sym typeface="PT Sans Caption" panose="020B0603020203020204" charset="0"/>
              </a:defRPr>
            </a:lvl1pPr>
          </a:lstStyle>
          <a:p>
            <a:pPr>
              <a:defRPr/>
            </a:pPr>
            <a:r>
              <a:rPr lang="en-US"/>
              <a:t>Notes view: </a:t>
            </a:r>
            <a:fld id="{B2E33159-74EA-4146-B012-204E03554B1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ts val="600"/>
      </a:spcAft>
      <a:buFont typeface="Arial" charset="0"/>
      <a:buChar char="​"/>
      <a:defRPr sz="1200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/>
      </a:defRPr>
    </a:lvl1pPr>
    <a:lvl2pPr marL="114300" indent="-114300" algn="l" rtl="0" fontAlgn="base">
      <a:spcBef>
        <a:spcPct val="30000"/>
      </a:spcBef>
      <a:spcAft>
        <a:spcPts val="600"/>
      </a:spcAft>
      <a:buFont typeface="Arial" charset="0"/>
      <a:buChar char="•"/>
      <a:defRPr sz="1200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/>
      </a:defRPr>
    </a:lvl2pPr>
    <a:lvl3pPr marL="228600" indent="-114300" algn="l" rtl="0" fontAlgn="base">
      <a:spcBef>
        <a:spcPct val="30000"/>
      </a:spcBef>
      <a:spcAft>
        <a:spcPts val="600"/>
      </a:spcAft>
      <a:buClr>
        <a:schemeClr val="tx2"/>
      </a:buClr>
      <a:buFont typeface="Arial" charset="0"/>
      <a:buChar char="•"/>
      <a:defRPr sz="1200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/>
      </a:defRPr>
    </a:lvl3pPr>
    <a:lvl4pPr marL="514350" indent="-114300" algn="l" rtl="0" fontAlgn="base">
      <a:spcBef>
        <a:spcPct val="30000"/>
      </a:spcBef>
      <a:spcAft>
        <a:spcPts val="600"/>
      </a:spcAft>
      <a:buFont typeface="Arial" charset="0"/>
      <a:buChar char="•"/>
      <a:defRPr sz="1000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/>
      </a:defRPr>
    </a:lvl4pPr>
    <a:lvl5pPr marL="685800" indent="-114300" algn="l" rtl="0" fontAlgn="base">
      <a:spcBef>
        <a:spcPct val="30000"/>
      </a:spcBef>
      <a:spcAft>
        <a:spcPts val="600"/>
      </a:spcAft>
      <a:buClr>
        <a:schemeClr val="tx2"/>
      </a:buClr>
      <a:buFont typeface="Arial" charset="0"/>
      <a:buChar char="•"/>
      <a:defRPr sz="1000" i="1" kern="1200">
        <a:solidFill>
          <a:schemeClr val="tx1"/>
        </a:solidFill>
        <a:latin typeface="PT Sans Caption" panose="020B0603020203020204" charset="0"/>
        <a:ea typeface="+mn-ea"/>
        <a:cs typeface="+mn-cs"/>
        <a:sym typeface="PT Sans Caption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798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>
              <a:latin typeface="PT Sans Caption"/>
            </a:endParaRPr>
          </a:p>
        </p:txBody>
      </p:sp>
      <p:sp>
        <p:nvSpPr>
          <p:cNvPr id="7987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latin typeface="PT Sans Caption"/>
                <a:cs typeface="Arial" charset="0"/>
                <a:sym typeface="PT Sans Caption"/>
              </a:rPr>
              <a:t>Notes view: </a:t>
            </a:r>
            <a:fld id="{844BFCCD-A6E2-4711-9F79-AA9E00686AC1}" type="slidenum">
              <a:rPr lang="en-US" smtClean="0">
                <a:latin typeface="PT Sans Caption"/>
                <a:cs typeface="Arial" charset="0"/>
                <a:sym typeface="PT Sans Caption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mtClean="0">
              <a:latin typeface="PT Sans Caption"/>
              <a:cs typeface="Arial" charset="0"/>
              <a:sym typeface="PT Sans Caption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8704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>
              <a:latin typeface="PT Sans Caption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952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bg-BG" smtClean="0">
              <a:latin typeface="PT Sans Caption"/>
            </a:endParaRPr>
          </a:p>
        </p:txBody>
      </p:sp>
      <p:sp>
        <p:nvSpPr>
          <p:cNvPr id="9523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bg-BG" smtClean="0">
                <a:latin typeface="PT Sans Caption"/>
                <a:cs typeface="Arial" charset="0"/>
                <a:sym typeface="PT Sans Caption"/>
              </a:rPr>
              <a:t>Notes view: </a:t>
            </a:r>
            <a:fld id="{625B348F-E61A-47CB-885F-E4857B6951F6}" type="slidenum">
              <a:rPr lang="bg-BG" smtClean="0">
                <a:latin typeface="PT Sans Caption"/>
                <a:cs typeface="Arial" charset="0"/>
                <a:sym typeface="PT Sans Caption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bg-BG" smtClean="0">
              <a:latin typeface="PT Sans Caption"/>
              <a:cs typeface="Arial" charset="0"/>
              <a:sym typeface="PT Sans Caption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10649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bg-BG" smtClean="0">
              <a:latin typeface="PT Sans Caption"/>
            </a:endParaRPr>
          </a:p>
        </p:txBody>
      </p:sp>
      <p:sp>
        <p:nvSpPr>
          <p:cNvPr id="10649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bg-BG" smtClean="0">
                <a:latin typeface="PT Sans Caption"/>
                <a:cs typeface="Arial" charset="0"/>
                <a:sym typeface="PT Sans Caption"/>
              </a:rPr>
              <a:t>Notes view: </a:t>
            </a:r>
            <a:fld id="{201348C9-46C8-4F19-84AA-024E9B3947A2}" type="slidenum">
              <a:rPr lang="bg-BG" smtClean="0">
                <a:latin typeface="PT Sans Caption"/>
                <a:cs typeface="Arial" charset="0"/>
                <a:sym typeface="PT Sans Caption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bg-BG" smtClean="0">
              <a:latin typeface="PT Sans Caption"/>
              <a:cs typeface="Arial" charset="0"/>
              <a:sym typeface="PT Sans Caption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8806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>
              <a:latin typeface="PT Sans Caption"/>
            </a:endParaRPr>
          </a:p>
        </p:txBody>
      </p:sp>
      <p:sp>
        <p:nvSpPr>
          <p:cNvPr id="8806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mtClean="0">
                <a:latin typeface="PT Sans Caption"/>
                <a:cs typeface="Arial" charset="0"/>
                <a:sym typeface="PT Sans Caption"/>
              </a:rPr>
              <a:t>Notes view: </a:t>
            </a:r>
            <a:fld id="{05D61740-7200-4525-9F89-C3BB8CD321F1}" type="slidenum">
              <a:rPr lang="ru-RU" smtClean="0">
                <a:latin typeface="PT Sans Caption"/>
                <a:cs typeface="Arial" charset="0"/>
                <a:sym typeface="PT Sans Caption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mtClean="0">
              <a:latin typeface="PT Sans Caption"/>
              <a:cs typeface="Arial" charset="0"/>
              <a:sym typeface="PT Sans Caption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9011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bg-BG" smtClean="0">
              <a:latin typeface="PT Sans Caption"/>
            </a:endParaRPr>
          </a:p>
        </p:txBody>
      </p:sp>
      <p:sp>
        <p:nvSpPr>
          <p:cNvPr id="9011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bg-BG" smtClean="0">
                <a:latin typeface="PT Sans Caption"/>
                <a:cs typeface="Arial" charset="0"/>
                <a:sym typeface="PT Sans Caption"/>
              </a:rPr>
              <a:t>Notes view: </a:t>
            </a:r>
            <a:fld id="{236D8742-1382-4173-8DD3-560EC71F19C4}" type="slidenum">
              <a:rPr lang="bg-BG" smtClean="0">
                <a:latin typeface="PT Sans Caption"/>
                <a:cs typeface="Arial" charset="0"/>
                <a:sym typeface="PT Sans Caption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bg-BG" smtClean="0">
              <a:latin typeface="PT Sans Caption"/>
              <a:cs typeface="Arial" charset="0"/>
              <a:sym typeface="PT Sans Caption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miter lim="800000"/>
            <a:headEnd/>
            <a:tailEnd/>
          </a:ln>
        </p:spPr>
      </p:sp>
      <p:sp>
        <p:nvSpPr>
          <p:cNvPr id="931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bg-BG" smtClean="0">
              <a:latin typeface="PT Sans Caption"/>
            </a:endParaRPr>
          </a:p>
        </p:txBody>
      </p:sp>
      <p:sp>
        <p:nvSpPr>
          <p:cNvPr id="931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bg-BG" smtClean="0">
                <a:latin typeface="PT Sans Caption"/>
                <a:cs typeface="Arial" charset="0"/>
                <a:sym typeface="PT Sans Caption"/>
              </a:rPr>
              <a:t>Notes view: </a:t>
            </a:r>
            <a:fld id="{181861C7-ACC6-4634-B409-3E44F2F465BF}" type="slidenum">
              <a:rPr lang="bg-BG" smtClean="0">
                <a:latin typeface="PT Sans Caption"/>
                <a:cs typeface="Arial" charset="0"/>
                <a:sym typeface="PT Sans Caption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bg-BG" smtClean="0">
              <a:latin typeface="PT Sans Caption"/>
              <a:cs typeface="Arial" charset="0"/>
              <a:sym typeface="PT Sans Caption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2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oleObject" Target="../embeddings/oleObject28.bin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oleObject" Target="../embeddings/oleObject31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3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33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58.xml"/><Relationship Id="rId7" Type="http://schemas.openxmlformats.org/officeDocument/2006/relationships/oleObject" Target="../embeddings/oleObject34.bin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Relationship Id="rId9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oleObject" Target="../embeddings/oleObject37.bin"/><Relationship Id="rId2" Type="http://schemas.openxmlformats.org/officeDocument/2006/relationships/tags" Target="../tags/tag61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oleObject" Target="../embeddings/oleObject39.bin"/><Relationship Id="rId2" Type="http://schemas.openxmlformats.org/officeDocument/2006/relationships/tags" Target="../tags/tag64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41.bin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1.png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3.png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47.vml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oleObject" Target="../embeddings/oleObject58.bin"/><Relationship Id="rId2" Type="http://schemas.openxmlformats.org/officeDocument/2006/relationships/tags" Target="../tags/tag99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5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4.png"/><Relationship Id="rId4" Type="http://schemas.openxmlformats.org/officeDocument/2006/relationships/oleObject" Target="../embeddings/oleObject5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0.vml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8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2.vml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oleObject" Target="../embeddings/oleObject64.bin"/><Relationship Id="rId2" Type="http://schemas.openxmlformats.org/officeDocument/2006/relationships/tags" Target="../tags/tag109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6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oleObject" Target="../embeddings/oleObject66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6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56.vml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7.vml"/><Relationship Id="rId4" Type="http://schemas.openxmlformats.org/officeDocument/2006/relationships/oleObject" Target="../embeddings/oleObject6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58.vml"/><Relationship Id="rId4" Type="http://schemas.openxmlformats.org/officeDocument/2006/relationships/oleObject" Target="../embeddings/oleObject7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oleObject" Target="../embeddings/oleObject73.bin"/><Relationship Id="rId2" Type="http://schemas.openxmlformats.org/officeDocument/2006/relationships/tags" Target="../tags/tag122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75.bin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77.bin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79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081" name="think-cell Slide" r:id="rId4" imgW="360" imgH="360" progId="">
              <p:embed/>
            </p:oleObj>
          </a:graphicData>
        </a:graphic>
      </p:graphicFrame>
      <p:pic>
        <p:nvPicPr>
          <p:cNvPr id="4" name="Picture 1" descr="Screen Clippin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Shape 54"/>
          <p:cNvPicPr preferRelativeResize="0"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47700" y="5060950"/>
            <a:ext cx="4016375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Shape 56"/>
          <p:cNvPicPr preferRelativeResize="0"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15950" y="561975"/>
            <a:ext cx="1346200" cy="259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3297" name="think-cell Slide" r:id="rId5" imgW="360" imgH="360" progId="">
              <p:embed/>
            </p:oleObj>
          </a:graphicData>
        </a:graphic>
      </p:graphicFrame>
      <p:pic>
        <p:nvPicPr>
          <p:cNvPr id="5" name="Picture 8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7410450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"/>
          <p:cNvSpPr/>
          <p:nvPr userDrawn="1"/>
        </p:nvSpPr>
        <p:spPr bwMode="gray">
          <a:xfrm>
            <a:off x="7820025" y="0"/>
            <a:ext cx="4371975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16363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extBox 12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12C0387-4812-4E03-BE84-4074AF32BFAC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noProof="0" dirty="0">
                <a:sym typeface="PT Sans Caption" panose="020B0603020203020204" charset="0"/>
              </a:rPr>
              <a:t>Вставка рисунка</a:t>
            </a:r>
            <a:endParaRPr lang="en-US" noProof="0" dirty="0"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321" name="think-cell Slide" r:id="rId5" imgW="360" imgH="360" progId="">
              <p:embed/>
            </p:oleObj>
          </a:graphicData>
        </a:graphic>
      </p:graphicFrame>
      <p:sp>
        <p:nvSpPr>
          <p:cNvPr id="4" name="Freeform 14"/>
          <p:cNvSpPr/>
          <p:nvPr userDrawn="1"/>
        </p:nvSpPr>
        <p:spPr bwMode="ltGray">
          <a:xfrm>
            <a:off x="1588" y="1588"/>
            <a:ext cx="40878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TextBox 11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1F0A65A-7117-44CC-BBB8-F0B96A1479BD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132138" y="3590925"/>
            <a:ext cx="1365250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itle 2"/>
          <p:cNvSpPr>
            <a:spLocks noGrp="1"/>
          </p:cNvSpPr>
          <p:nvPr>
            <p:ph type="title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5345" name="think-cell Slide" r:id="rId5" imgW="360" imgH="360" progId="">
              <p:embed/>
            </p:oleObj>
          </a:graphicData>
        </a:graphic>
      </p:graphicFrame>
      <p:sp>
        <p:nvSpPr>
          <p:cNvPr id="5" name="Freeform 14"/>
          <p:cNvSpPr/>
          <p:nvPr userDrawn="1"/>
        </p:nvSpPr>
        <p:spPr bwMode="ltGray">
          <a:xfrm>
            <a:off x="0" y="0"/>
            <a:ext cx="40878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6" name="TextBox 13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6F3F55A-0248-4562-991C-E351C4EA0443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 rot="120000">
            <a:off x="2174875" y="3403600"/>
            <a:ext cx="2693988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2764203"/>
            <a:ext cx="2478638" cy="1314311"/>
          </a:xfr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6369" name="think-cell Slide" r:id="rId5" imgW="360" imgH="360" progId="">
              <p:embed/>
            </p:oleObj>
          </a:graphicData>
        </a:graphic>
      </p:graphicFrame>
      <p:sp>
        <p:nvSpPr>
          <p:cNvPr id="4" name="TextBox 4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66A36E1-3E18-4AA6-BFCF-A91E4C7CD363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Pentagon 3"/>
          <p:cNvSpPr/>
          <p:nvPr userDrawn="1"/>
        </p:nvSpPr>
        <p:spPr bwMode="white">
          <a:xfrm>
            <a:off x="0" y="0"/>
            <a:ext cx="5427663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14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581525" y="3394075"/>
            <a:ext cx="1298575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7393" name="think-cell Slide" r:id="rId5" imgW="360" imgH="360" progId="">
              <p:embed/>
            </p:oleObj>
          </a:graphicData>
        </a:graphic>
      </p:graphicFrame>
      <p:sp>
        <p:nvSpPr>
          <p:cNvPr id="4" name="Pentagon 3"/>
          <p:cNvSpPr/>
          <p:nvPr userDrawn="1"/>
        </p:nvSpPr>
        <p:spPr bwMode="white">
          <a:xfrm>
            <a:off x="0" y="0"/>
            <a:ext cx="5427663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extBox 15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6A6E527-3BAE-4F75-9294-97A425A27AFA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578225" y="3416300"/>
            <a:ext cx="2693988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8417" name="think-cell Slide" r:id="rId5" imgW="360" imgH="360" progId="">
              <p:embed/>
            </p:oleObj>
          </a:graphicData>
        </a:graphic>
      </p:graphicFrame>
      <p:sp>
        <p:nvSpPr>
          <p:cNvPr id="4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" name="TextBox 14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4B08A55-6D83-4841-8587-5FE4A3AC2264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Pentagon 8"/>
          <p:cNvSpPr/>
          <p:nvPr userDrawn="1"/>
        </p:nvSpPr>
        <p:spPr bwMode="white">
          <a:xfrm>
            <a:off x="0" y="0"/>
            <a:ext cx="6364288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5397500" y="3589338"/>
            <a:ext cx="1365250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9441" name="think-cell Slide" r:id="rId5" imgW="360" imgH="360" progId="">
              <p:embed/>
            </p:oleObj>
          </a:graphicData>
        </a:graphic>
      </p:graphicFrame>
      <p:sp>
        <p:nvSpPr>
          <p:cNvPr id="4" name="Pentagon 8"/>
          <p:cNvSpPr/>
          <p:nvPr userDrawn="1"/>
        </p:nvSpPr>
        <p:spPr bwMode="white">
          <a:xfrm>
            <a:off x="0" y="0"/>
            <a:ext cx="6364288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extBox 12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7E4DABC-CF65-448B-8FAF-3E21932919D3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 rot="120000">
            <a:off x="4460875" y="3408363"/>
            <a:ext cx="26939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0465" name="think-cell Slide" r:id="rId5" imgW="360" imgH="360" progId="">
              <p:embed/>
            </p:oleObj>
          </a:graphicData>
        </a:graphic>
      </p:graphicFrame>
      <p:sp>
        <p:nvSpPr>
          <p:cNvPr id="4" name="Freeform 18"/>
          <p:cNvSpPr/>
          <p:nvPr userDrawn="1"/>
        </p:nvSpPr>
        <p:spPr bwMode="white">
          <a:xfrm>
            <a:off x="0" y="0"/>
            <a:ext cx="844550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TextBox 14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1E81EB7-D96B-4E68-BFAA-F554C55FCAE3}" type="slidenum">
              <a:rPr lang="en-US" sz="1000">
                <a:solidFill>
                  <a:srgbClr val="595959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15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7489825" y="3589338"/>
            <a:ext cx="1365250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1489" name="think-cell Slide" r:id="rId5" imgW="360" imgH="360" progId="">
              <p:embed/>
            </p:oleObj>
          </a:graphicData>
        </a:graphic>
      </p:graphicFrame>
      <p:sp>
        <p:nvSpPr>
          <p:cNvPr id="4" name="Freeform 18"/>
          <p:cNvSpPr/>
          <p:nvPr userDrawn="1"/>
        </p:nvSpPr>
        <p:spPr bwMode="white">
          <a:xfrm>
            <a:off x="0" y="0"/>
            <a:ext cx="844550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extBox 17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73960E1-04A5-46E8-A316-50AD421387DD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 rot="120000">
            <a:off x="6567488" y="3408363"/>
            <a:ext cx="2695575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2513" name="think-cell Slide" r:id="rId5" imgW="360" imgH="360" progId="">
              <p:embed/>
            </p:oleObj>
          </a:graphicData>
        </a:graphic>
      </p:graphicFrame>
      <p:sp>
        <p:nvSpPr>
          <p:cNvPr id="4" name="TextBox 2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85811D5-72AF-4B2E-8811-E0309BCCAEC0}" type="slidenum">
              <a:rPr lang="en-US" sz="1000">
                <a:solidFill>
                  <a:srgbClr val="595959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5105" name="think-cell Slide" r:id="rId6" imgW="360" imgH="360" progId="">
              <p:embed/>
            </p:oleObj>
          </a:graphicData>
        </a:graphic>
      </p:graphicFrame>
      <p:sp>
        <p:nvSpPr>
          <p:cNvPr id="4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5137213-D37A-45DA-8439-8E97DB7502C8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5106" name="think-cell Slide" r:id="rId7" imgW="360" imgH="360" progId="">
              <p:embed/>
            </p:oleObj>
          </a:graphicData>
        </a:graphic>
      </p:graphicFrame>
      <p:sp>
        <p:nvSpPr>
          <p:cNvPr id="6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36"/>
          <p:cNvPicPr preferRelativeResize="0">
            <a:picLocks noChangeAspect="1" noChangeArrowheads="1"/>
          </p:cNvPicPr>
          <p:nvPr userDrawn="1"/>
        </p:nvPicPr>
        <p:blipFill>
          <a:blip r:embed="rId8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7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51325"/>
            <a:ext cx="1052422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3537" name="think-cell Slide" r:id="rId6" imgW="360" imgH="360" progId="">
              <p:embed/>
            </p:oleObj>
          </a:graphicData>
        </a:graphic>
      </p:graphicFrame>
      <p:sp>
        <p:nvSpPr>
          <p:cNvPr id="4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9F62222-0AA2-4D33-8F67-B9C7F092CD1A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3538" name="think-cell Slide" r:id="rId7" imgW="360" imgH="360" progId="">
              <p:embed/>
            </p:oleObj>
          </a:graphicData>
        </a:graphic>
      </p:graphicFrame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  <a:ln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5"/>
          <p:cNvSpPr/>
          <p:nvPr userDrawn="1"/>
        </p:nvSpPr>
        <p:spPr bwMode="white">
          <a:xfrm>
            <a:off x="630238" y="625475"/>
            <a:ext cx="931862" cy="933450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4561" name="think-cell Slide" r:id="rId4" imgW="360" imgH="360" progId="">
              <p:embed/>
            </p:oleObj>
          </a:graphicData>
        </a:graphic>
      </p:graphicFrame>
      <p:sp>
        <p:nvSpPr>
          <p:cNvPr id="3" name="TextBox 5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F6E6817-C727-4FD0-8BFC-09738E0E006E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5"/>
          <a:srcRect l="1257" t="3635"/>
          <a:stretch>
            <a:fillRect/>
          </a:stretch>
        </p:blipFill>
        <p:spPr bwMode="auto">
          <a:xfrm>
            <a:off x="2171700" y="4725988"/>
            <a:ext cx="100203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58"/>
          <p:cNvSpPr>
            <a:spLocks/>
          </p:cNvSpPr>
          <p:nvPr/>
        </p:nvSpPr>
        <p:spPr bwMode="white">
          <a:xfrm flipH="1">
            <a:off x="0" y="0"/>
            <a:ext cx="12192000" cy="5867400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5585" name="think-cell Slide" r:id="rId5" imgW="360" imgH="360" progId="">
              <p:embed/>
            </p:oleObj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8063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BC3F9E7-8E20-42B9-886A-F6E3B62AE606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6609" name="think-cell Slide" r:id="rId6" imgW="360" imgH="360" progId="">
              <p:embed/>
            </p:oleObj>
          </a:graphicData>
        </a:graphic>
      </p:graphicFrame>
      <p:sp>
        <p:nvSpPr>
          <p:cNvPr id="3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652AAE3-E6FA-469B-AD5B-17F75C8999D6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6610" name="think-cell Slide" r:id="rId7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7633" name="think-cell Slide" r:id="rId5" imgW="360" imgH="360" progId="">
              <p:embed/>
            </p:oleObj>
          </a:graphicData>
        </a:graphic>
      </p:graphicFrame>
      <p:sp>
        <p:nvSpPr>
          <p:cNvPr id="3" name="TextBox 6"/>
          <p:cNvSpPr txBox="1"/>
          <p:nvPr userDrawn="1"/>
        </p:nvSpPr>
        <p:spPr bwMode="white">
          <a:xfrm>
            <a:off x="11168063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A222E46-3128-4CAD-A8CA-02AD497979CE}" type="slidenum">
              <a:rPr lang="en-US" sz="1000">
                <a:solidFill>
                  <a:srgbClr val="595959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8657" name="think-cell Slide" r:id="rId6" imgW="360" imgH="360" progId="">
              <p:embed/>
            </p:oleObj>
          </a:graphicData>
        </a:graphic>
      </p:graphicFrame>
      <p:sp>
        <p:nvSpPr>
          <p:cNvPr id="3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03088C1-3571-405D-945F-069562750A75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8658" name="think-cell Slide" r:id="rId7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9681" name="think-cell Slide" r:id="rId4" imgW="360" imgH="360" progId="">
              <p:embed/>
            </p:oleObj>
          </a:graphicData>
        </a:graphic>
      </p:graphicFrame>
      <p:pic>
        <p:nvPicPr>
          <p:cNvPr id="3" name="Picture 6" descr="Screen Clippin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Shape 54"/>
          <p:cNvPicPr preferRelativeResize="0"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47700" y="5060950"/>
            <a:ext cx="4016375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Shape 56"/>
          <p:cNvPicPr preferRelativeResize="0"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15950" y="561975"/>
            <a:ext cx="1346200" cy="259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0705" name="think-cell Slide" r:id="rId4" imgW="360" imgH="360" progId="">
              <p:embed/>
            </p:oleObj>
          </a:graphicData>
        </a:graphic>
      </p:graphicFrame>
      <p:pic>
        <p:nvPicPr>
          <p:cNvPr id="4" name="Picture 8" descr="Screen Clippin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Shape 54"/>
          <p:cNvPicPr preferRelativeResize="0"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47700" y="5060950"/>
            <a:ext cx="4016375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Shape 56"/>
          <p:cNvPicPr preferRelativeResize="0"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15950" y="561975"/>
            <a:ext cx="1346200" cy="259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4"/>
          <p:cNvSpPr>
            <a:spLocks noGrp="1"/>
          </p:cNvSpPr>
          <p:nvPr>
            <p:ph type="title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1729" name="think-cell Slide" r:id="rId7" imgW="360" imgH="360" progId="">
              <p:embed/>
            </p:oleObj>
          </a:graphicData>
        </a:graphic>
      </p:graphicFrame>
      <p:sp>
        <p:nvSpPr>
          <p:cNvPr id="4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14B18EB-5375-4AF5-8741-51E8E665F185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1730" name="think-cell Slide" r:id="rId8" imgW="360" imgH="360" progId="">
              <p:embed/>
            </p:oleObj>
          </a:graphicData>
        </a:graphic>
      </p:graphicFrame>
      <p:sp>
        <p:nvSpPr>
          <p:cNvPr id="6" name="Прямоугольник 2" hidden="1">
            <a:extLst>
              <a:ext uri="{FF2B5EF4-FFF2-40B4-BE49-F238E27FC236}"/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2400" dirty="0">
              <a:solidFill>
                <a:srgbClr val="FFFFFF"/>
              </a:solidFill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7" name="Rectangle 8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5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11" name="Picture 36"/>
          <p:cNvPicPr preferRelativeResize="0">
            <a:picLocks noChangeAspect="1" noChangeArrowheads="1"/>
          </p:cNvPicPr>
          <p:nvPr userDrawn="1"/>
        </p:nvPicPr>
        <p:blipFill>
          <a:blip r:embed="rId9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0000" y="251325"/>
            <a:ext cx="10524228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2" name="Date Placeholder 5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2753" name="think-cell Slide" r:id="rId6" imgW="360" imgH="360" progId="">
              <p:embed/>
            </p:oleObj>
          </a:graphicData>
        </a:graphic>
      </p:graphicFrame>
      <p:sp>
        <p:nvSpPr>
          <p:cNvPr id="5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D1CF6AF-AC6C-4A4D-AC12-BF06C1FA9C3E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2754" name="think-cell Slide" r:id="rId7" imgW="360" imgH="360" progId="">
              <p:embed/>
            </p:oleObj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6"/>
          <p:cNvSpPr/>
          <p:nvPr userDrawn="1"/>
        </p:nvSpPr>
        <p:spPr bwMode="white">
          <a:xfrm>
            <a:off x="0" y="-1588"/>
            <a:ext cx="4694238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  <a:endParaRPr lang="en-US" dirty="0"/>
          </a:p>
        </p:txBody>
      </p:sp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630000" y="1227048"/>
            <a:ext cx="3744000" cy="664797"/>
          </a:xfrm>
        </p:spPr>
        <p:txBody>
          <a:bodyPr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6129" name="think-cell Slide" r:id="rId6" imgW="360" imgH="360" progId="">
              <p:embed/>
            </p:oleObj>
          </a:graphicData>
        </a:graphic>
      </p:graphicFrame>
      <p:sp>
        <p:nvSpPr>
          <p:cNvPr id="4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478CB14-63BB-48EF-ACD3-BBEBF42F416D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6130" name="think-cell Slide" r:id="rId7" imgW="360" imgH="360" progId="">
              <p:embed/>
            </p:oleObj>
          </a:graphicData>
        </a:graphic>
      </p:graphicFrame>
      <p:sp>
        <p:nvSpPr>
          <p:cNvPr id="6" name="Rectangle 7"/>
          <p:cNvSpPr/>
          <p:nvPr userDrawn="1"/>
        </p:nvSpPr>
        <p:spPr bwMode="ltGray">
          <a:xfrm>
            <a:off x="0" y="-1588"/>
            <a:ext cx="4694238" cy="6859588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rIns="32004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3777" name="think-cell Slide" r:id="rId6" imgW="360" imgH="360" progId="">
              <p:embed/>
            </p:oleObj>
          </a:graphicData>
        </a:graphic>
      </p:graphicFrame>
      <p:sp>
        <p:nvSpPr>
          <p:cNvPr id="4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D4FA015-9FEF-4671-8F1E-C556B2DFC280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3778" name="think-cell Slide" r:id="rId7" imgW="360" imgH="360" progId="">
              <p:embed/>
            </p:oleObj>
          </a:graphicData>
        </a:graphic>
      </p:graphicFrame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10"/>
          <p:cNvSpPr/>
          <p:nvPr userDrawn="1"/>
        </p:nvSpPr>
        <p:spPr bwMode="white">
          <a:xfrm>
            <a:off x="1281113" y="1423988"/>
            <a:ext cx="950912" cy="952500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/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4801" name="think-cell Slide" r:id="rId5" imgW="360" imgH="360" progId="">
              <p:embed/>
            </p:oleObj>
          </a:graphicData>
        </a:graphic>
      </p:graphicFrame>
      <p:sp>
        <p:nvSpPr>
          <p:cNvPr id="4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FF00EA2-472E-4B98-863C-42F68D047803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4802" name="think-cell Slide" r:id="rId6" imgW="360" imgH="360" progId="">
              <p:embed/>
            </p:oleObj>
          </a:graphicData>
        </a:graphic>
      </p:graphicFrame>
      <p:cxnSp>
        <p:nvCxnSpPr>
          <p:cNvPr id="6" name="Straight Connector 9"/>
          <p:cNvCxnSpPr/>
          <p:nvPr userDrawn="1"/>
        </p:nvCxnSpPr>
        <p:spPr bwMode="white">
          <a:xfrm>
            <a:off x="630238" y="3679825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 bwMode="blackWhite">
          <a:xfrm>
            <a:off x="630000" y="3826800"/>
            <a:ext cx="10936800" cy="2041200"/>
          </a:xfrm>
          <a:ln/>
        </p:spPr>
        <p:txBody>
          <a:bodyPr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825" name="think-cell Slide" r:id="rId5" imgW="360" imgH="360" progId="">
              <p:embed/>
            </p:oleObj>
          </a:graphicData>
        </a:graphic>
      </p:graphicFrame>
      <p:pic>
        <p:nvPicPr>
          <p:cNvPr id="4" name="Picture 9"/>
          <p:cNvPicPr>
            <a:picLocks noChangeAspect="1"/>
          </p:cNvPicPr>
          <p:nvPr userDrawn="1"/>
        </p:nvPicPr>
        <p:blipFill>
          <a:blip r:embed="rId6"/>
          <a:srcRect l="29398" t="27" r="101" b="8742"/>
          <a:stretch>
            <a:fillRect/>
          </a:stretch>
        </p:blipFill>
        <p:spPr bwMode="ltGray">
          <a:xfrm>
            <a:off x="4065588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9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764C896-6010-4CA9-BB10-04AD6D8A4E5F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23"/>
          <p:cNvSpPr/>
          <p:nvPr userDrawn="1"/>
        </p:nvSpPr>
        <p:spPr bwMode="white">
          <a:xfrm>
            <a:off x="0" y="0"/>
            <a:ext cx="40798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6849" name="think-cell Slide" r:id="rId5" imgW="360" imgH="360" progId="">
              <p:embed/>
            </p:oleObj>
          </a:graphicData>
        </a:graphic>
      </p:graphicFrame>
      <p:pic>
        <p:nvPicPr>
          <p:cNvPr id="4" name="Picture 9"/>
          <p:cNvPicPr>
            <a:picLocks noChangeAspect="1"/>
          </p:cNvPicPr>
          <p:nvPr userDrawn="1"/>
        </p:nvPicPr>
        <p:blipFill>
          <a:blip r:embed="rId6"/>
          <a:srcRect l="29398" t="27" r="101" b="8742"/>
          <a:stretch>
            <a:fillRect/>
          </a:stretch>
        </p:blipFill>
        <p:spPr bwMode="ltGray">
          <a:xfrm>
            <a:off x="7165975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3"/>
          <p:cNvSpPr/>
          <p:nvPr userDrawn="1"/>
        </p:nvSpPr>
        <p:spPr bwMode="white">
          <a:xfrm>
            <a:off x="0" y="0"/>
            <a:ext cx="717232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6" name="TextBox 18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9DB9EEE-079E-4CB1-8CF6-166766E6CE19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7873" name="think-cell Slide" r:id="rId5" imgW="360" imgH="360" progId="">
              <p:embed/>
            </p:oleObj>
          </a:graphicData>
        </a:graphic>
      </p:graphicFrame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6"/>
          <a:srcRect l="29398" t="27" r="101" b="8742"/>
          <a:stretch>
            <a:fillRect/>
          </a:stretch>
        </p:blipFill>
        <p:spPr bwMode="ltGray">
          <a:xfrm>
            <a:off x="9029700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9"/>
          <p:cNvSpPr/>
          <p:nvPr userDrawn="1"/>
        </p:nvSpPr>
        <p:spPr bwMode="white">
          <a:xfrm>
            <a:off x="0" y="0"/>
            <a:ext cx="90344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extBox 14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4CAFDEC-F747-4969-A5CC-7369246A446D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8897" name="think-cell Slide" r:id="rId5" imgW="360" imgH="360" progId="">
              <p:embed/>
            </p:oleObj>
          </a:graphicData>
        </a:graphic>
      </p:graphicFrame>
      <p:pic>
        <p:nvPicPr>
          <p:cNvPr id="4" name="Picture 22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70300" y="0"/>
            <a:ext cx="417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5"/>
          <p:cNvSpPr/>
          <p:nvPr userDrawn="1"/>
        </p:nvSpPr>
        <p:spPr bwMode="ltGray">
          <a:xfrm>
            <a:off x="4081463" y="-1588"/>
            <a:ext cx="8110537" cy="6859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extBox 27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9CB73D7-E23A-4DB4-A3C2-1CAF94167056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9921" name="think-cell Slide" r:id="rId5" imgW="360" imgH="360" progId="">
              <p:embed/>
            </p:oleObj>
          </a:graphicData>
        </a:graphic>
      </p:graphicFrame>
      <p:pic>
        <p:nvPicPr>
          <p:cNvPr id="5" name="Picture 9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5689600" y="0"/>
            <a:ext cx="417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7" name="TextBox 13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BA5D125-B831-48AE-81F7-D0D81F456A9F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noProof="0" dirty="0">
                <a:sym typeface="PT Sans Caption" panose="020B0603020203020204" charset="0"/>
              </a:rPr>
              <a:t>Вставка рисунка</a:t>
            </a:r>
            <a:endParaRPr lang="en-US" noProof="0" dirty="0">
              <a:sym typeface="PT Sans Caption" panose="020B060302020302020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0945" name="think-cell Slide" r:id="rId5" imgW="360" imgH="360" progId="">
              <p:embed/>
            </p:oleObj>
          </a:graphicData>
        </a:graphic>
      </p:graphicFrame>
      <p:pic>
        <p:nvPicPr>
          <p:cNvPr id="5" name="Picture 9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7410450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0"/>
          <p:cNvSpPr/>
          <p:nvPr userDrawn="1"/>
        </p:nvSpPr>
        <p:spPr bwMode="gray">
          <a:xfrm>
            <a:off x="7820025" y="0"/>
            <a:ext cx="43719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extBox 13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A0CD502-53AA-4552-8899-D2427B9998B2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noProof="0" dirty="0">
                <a:sym typeface="PT Sans Caption" panose="020B0603020203020204" charset="0"/>
              </a:rPr>
              <a:t>Вставка рисунка</a:t>
            </a:r>
            <a:endParaRPr lang="en-US" noProof="0" dirty="0">
              <a:sym typeface="PT Sans Caption" panose="020B060302020302020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1969" name="think-cell Slide" r:id="rId5" imgW="360" imgH="360" progId="">
              <p:embed/>
            </p:oleObj>
          </a:graphicData>
        </a:graphic>
      </p:graphicFrame>
      <p:sp>
        <p:nvSpPr>
          <p:cNvPr id="4" name="Freeform 14"/>
          <p:cNvSpPr/>
          <p:nvPr userDrawn="1"/>
        </p:nvSpPr>
        <p:spPr bwMode="ltGray">
          <a:xfrm>
            <a:off x="1588" y="1588"/>
            <a:ext cx="40878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TextBox 17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C41528A-4532-403F-BD20-FC436598CC34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132138" y="3590925"/>
            <a:ext cx="1365250" cy="3382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2993" name="think-cell Slide" r:id="rId5" imgW="360" imgH="360" progId="">
              <p:embed/>
            </p:oleObj>
          </a:graphicData>
        </a:graphic>
      </p:graphicFrame>
      <p:sp>
        <p:nvSpPr>
          <p:cNvPr id="4" name="Freeform 14"/>
          <p:cNvSpPr/>
          <p:nvPr userDrawn="1"/>
        </p:nvSpPr>
        <p:spPr bwMode="ltGray">
          <a:xfrm>
            <a:off x="1588" y="1588"/>
            <a:ext cx="40878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6" name="TextBox 15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4CFE753-C185-4B6D-90AD-41E629C160E9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 rot="120000">
            <a:off x="2174875" y="3403600"/>
            <a:ext cx="2693988" cy="3460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30000" y="2764203"/>
            <a:ext cx="2478638" cy="1314311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7153" name="think-cell Slide" r:id="rId5" imgW="360" imgH="360" progId="">
              <p:embed/>
            </p:oleObj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A832547-B73B-47D3-9A47-F9F1E23DB89C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8"/>
          <p:cNvSpPr/>
          <p:nvPr userDrawn="1"/>
        </p:nvSpPr>
        <p:spPr bwMode="white">
          <a:xfrm>
            <a:off x="1284288" y="1428750"/>
            <a:ext cx="947737" cy="947738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4017" name="think-cell Slide" r:id="rId5" imgW="360" imgH="360" progId="">
              <p:embed/>
            </p:oleObj>
          </a:graphicData>
        </a:graphic>
      </p:graphicFrame>
      <p:sp>
        <p:nvSpPr>
          <p:cNvPr id="4" name="TextBox 8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D60ECF6-99DC-467D-8F71-F0B2B8A61D1B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Pentagon 3"/>
          <p:cNvSpPr/>
          <p:nvPr userDrawn="1"/>
        </p:nvSpPr>
        <p:spPr bwMode="white">
          <a:xfrm>
            <a:off x="0" y="0"/>
            <a:ext cx="5427663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10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581525" y="3394075"/>
            <a:ext cx="1298575" cy="357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5041" name="think-cell Slide" r:id="rId5" imgW="360" imgH="360" progId="">
              <p:embed/>
            </p:oleObj>
          </a:graphicData>
        </a:graphic>
      </p:graphicFrame>
      <p:sp>
        <p:nvSpPr>
          <p:cNvPr id="4" name="Pentagon 3"/>
          <p:cNvSpPr/>
          <p:nvPr userDrawn="1"/>
        </p:nvSpPr>
        <p:spPr bwMode="white">
          <a:xfrm>
            <a:off x="0" y="0"/>
            <a:ext cx="5427663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extBox 13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F1C63E81-23CF-4251-8035-C1CFFEC50CC1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578225" y="3416300"/>
            <a:ext cx="2693988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6065" name="think-cell Slide" r:id="rId5" imgW="360" imgH="360" progId="">
              <p:embed/>
            </p:oleObj>
          </a:graphicData>
        </a:graphic>
      </p:graphicFrame>
      <p:sp>
        <p:nvSpPr>
          <p:cNvPr id="5" name="Pentagon 8"/>
          <p:cNvSpPr/>
          <p:nvPr/>
        </p:nvSpPr>
        <p:spPr bwMode="white">
          <a:xfrm>
            <a:off x="0" y="0"/>
            <a:ext cx="6364288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extBox 15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672E9FF-06D2-4457-A847-209164B7A775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9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5397500" y="3589338"/>
            <a:ext cx="1365250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7089" name="think-cell Slide" r:id="rId5" imgW="360" imgH="360" progId="">
              <p:embed/>
            </p:oleObj>
          </a:graphicData>
        </a:graphic>
      </p:graphicFrame>
      <p:sp>
        <p:nvSpPr>
          <p:cNvPr id="5" name="Pentagon 8"/>
          <p:cNvSpPr/>
          <p:nvPr/>
        </p:nvSpPr>
        <p:spPr bwMode="white">
          <a:xfrm>
            <a:off x="0" y="0"/>
            <a:ext cx="6364288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6" name="TextBox 13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7409678-34D3-4415-98A0-EC1349EF76A1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9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 rot="120000">
            <a:off x="4460875" y="3408363"/>
            <a:ext cx="2693988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8113" name="think-cell Slide" r:id="rId5" imgW="360" imgH="360" progId="">
              <p:embed/>
            </p:oleObj>
          </a:graphicData>
        </a:graphic>
      </p:graphicFrame>
      <p:sp>
        <p:nvSpPr>
          <p:cNvPr id="4" name="Freeform 18"/>
          <p:cNvSpPr/>
          <p:nvPr userDrawn="1"/>
        </p:nvSpPr>
        <p:spPr bwMode="white">
          <a:xfrm>
            <a:off x="0" y="0"/>
            <a:ext cx="844550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TextBox 14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AEE1ABDD-D191-4B77-8744-06406ED34197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10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7489825" y="3589338"/>
            <a:ext cx="1365250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9137" name="think-cell Slide" r:id="rId5" imgW="360" imgH="360" progId="">
              <p:embed/>
            </p:oleObj>
          </a:graphicData>
        </a:graphic>
      </p:graphicFrame>
      <p:sp>
        <p:nvSpPr>
          <p:cNvPr id="4" name="Freeform 18"/>
          <p:cNvSpPr/>
          <p:nvPr userDrawn="1"/>
        </p:nvSpPr>
        <p:spPr bwMode="white">
          <a:xfrm>
            <a:off x="0" y="0"/>
            <a:ext cx="844550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extBox 17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5C591D7-209E-4E50-8944-7FFF9FFEA0FF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 rot="120000">
            <a:off x="6567488" y="3408363"/>
            <a:ext cx="2695575" cy="345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0161" name="think-cell Slide" r:id="rId5" imgW="360" imgH="360" progId="">
              <p:embed/>
            </p:oleObj>
          </a:graphicData>
        </a:graphic>
      </p:graphicFrame>
      <p:sp>
        <p:nvSpPr>
          <p:cNvPr id="4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" name="TextBox 9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25AC96F-7845-4AE6-B76E-2ECC044A577D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1185" name="think-cell Slide" r:id="rId6" imgW="360" imgH="360" progId="">
              <p:embed/>
            </p:oleObj>
          </a:graphicData>
        </a:graphic>
      </p:graphicFrame>
      <p:sp>
        <p:nvSpPr>
          <p:cNvPr id="4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28DCD51-A267-4F56-818D-5E4016EEE773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1186" name="think-cell Slide" r:id="rId7" imgW="360" imgH="360" progId="">
              <p:embed/>
            </p:oleObj>
          </a:graphicData>
        </a:graphic>
      </p:graphicFrame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  <a:ln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5"/>
          <p:cNvSpPr/>
          <p:nvPr userDrawn="1"/>
        </p:nvSpPr>
        <p:spPr bwMode="white">
          <a:xfrm>
            <a:off x="630238" y="625475"/>
            <a:ext cx="931862" cy="933450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1D1D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2209" name="think-cell Slide" r:id="rId4" imgW="360" imgH="360" progId="">
              <p:embed/>
            </p:oleObj>
          </a:graphicData>
        </a:graphic>
      </p:graphicFrame>
      <p:sp>
        <p:nvSpPr>
          <p:cNvPr id="3" name="TextBox 5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0F1493D-F1E9-4283-99CE-B04D811944E7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4" name="Picture 6"/>
          <p:cNvPicPr>
            <a:picLocks noChangeAspect="1"/>
          </p:cNvPicPr>
          <p:nvPr userDrawn="1"/>
        </p:nvPicPr>
        <p:blipFill>
          <a:blip r:embed="rId5"/>
          <a:srcRect l="1257" t="3635"/>
          <a:stretch>
            <a:fillRect/>
          </a:stretch>
        </p:blipFill>
        <p:spPr bwMode="auto">
          <a:xfrm>
            <a:off x="2171700" y="4725988"/>
            <a:ext cx="10020300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58"/>
          <p:cNvSpPr>
            <a:spLocks/>
          </p:cNvSpPr>
          <p:nvPr/>
        </p:nvSpPr>
        <p:spPr bwMode="white">
          <a:xfrm flipH="1">
            <a:off x="0" y="0"/>
            <a:ext cx="12192000" cy="5867400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2C2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3233" name="think-cell Slide" r:id="rId5" imgW="360" imgH="360" progId="">
              <p:embed/>
            </p:oleObj>
          </a:graphicData>
        </a:graphic>
      </p:graphicFrame>
      <p:sp>
        <p:nvSpPr>
          <p:cNvPr id="4" name="TextBox 4"/>
          <p:cNvSpPr txBox="1"/>
          <p:nvPr/>
        </p:nvSpPr>
        <p:spPr bwMode="white">
          <a:xfrm>
            <a:off x="11168063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9B17F4C-7AC9-47ED-B7BA-2A20D6D4558B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8177" name="think-cell Slide" r:id="rId4" imgW="360" imgH="360" progId="">
              <p:embed/>
            </p:oleObj>
          </a:graphicData>
        </a:graphic>
      </p:graphicFrame>
      <p:sp>
        <p:nvSpPr>
          <p:cNvPr id="4" name="TextBox 4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612682F-FC9B-45A2-B5D1-71C82FBC6E0B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cxnSp>
        <p:nvCxnSpPr>
          <p:cNvPr id="5" name="Straight Connector 147"/>
          <p:cNvCxnSpPr/>
          <p:nvPr userDrawn="1"/>
        </p:nvCxnSpPr>
        <p:spPr bwMode="white">
          <a:xfrm>
            <a:off x="619125" y="3679825"/>
            <a:ext cx="11576050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itle 1"/>
          <p:cNvSpPr>
            <a:spLocks noGrp="1"/>
          </p:cNvSpPr>
          <p:nvPr>
            <p:ph type="title"/>
          </p:nvPr>
        </p:nvSpPr>
        <p:spPr bwMode="blackWhite">
          <a:xfrm>
            <a:off x="630000" y="3826800"/>
            <a:ext cx="10936800" cy="2041200"/>
          </a:xfrm>
        </p:spPr>
        <p:txBody>
          <a:bodyPr>
            <a:noAutofit/>
          </a:bodyPr>
          <a:lstStyle>
            <a:lvl1pPr>
              <a:defRPr sz="5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4257" name="think-cell Slide" r:id="rId5" imgW="360" imgH="360" progId="">
              <p:embed/>
            </p:oleObj>
          </a:graphicData>
        </a:graphic>
      </p:graphicFrame>
      <p:sp>
        <p:nvSpPr>
          <p:cNvPr id="3" name="Freeform 12"/>
          <p:cNvSpPr/>
          <p:nvPr/>
        </p:nvSpPr>
        <p:spPr bwMode="ltGray">
          <a:xfrm>
            <a:off x="0" y="0"/>
            <a:ext cx="40878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4" name="Freeform 12"/>
          <p:cNvSpPr/>
          <p:nvPr userDrawn="1"/>
        </p:nvSpPr>
        <p:spPr bwMode="ltGray">
          <a:xfrm>
            <a:off x="0" y="0"/>
            <a:ext cx="40878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extBox 19"/>
          <p:cNvSpPr txBox="1"/>
          <p:nvPr userDrawn="1"/>
        </p:nvSpPr>
        <p:spPr>
          <a:xfrm>
            <a:off x="630238" y="2578100"/>
            <a:ext cx="2984500" cy="17621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defRPr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extBox 18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0788A7A-8746-4CF1-A1E2-CBB1A6BBD7F3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9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108325" y="3586163"/>
            <a:ext cx="1365250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5281" name="think-cell Slide" r:id="rId5" imgW="360" imgH="360" progId="">
              <p:embed/>
            </p:oleObj>
          </a:graphicData>
        </a:graphic>
      </p:graphicFrame>
      <p:sp>
        <p:nvSpPr>
          <p:cNvPr id="3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extBox 10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FA678D8-6FBF-44FC-9110-C0E5848AC14D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6305" name="think-cell Slide" r:id="rId6" imgW="360" imgH="360" progId="">
              <p:embed/>
            </p:oleObj>
          </a:graphicData>
        </a:graphic>
      </p:graphicFrame>
      <p:sp>
        <p:nvSpPr>
          <p:cNvPr id="3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6688F69-B621-4A61-8F25-D4BF52DBF83B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6306" name="think-cell Slide" r:id="rId7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7329" name="think-cell Slide" r:id="rId6" imgW="360" imgH="360" progId="">
              <p:embed/>
            </p:oleObj>
          </a:graphicData>
        </a:graphic>
      </p:graphicFrame>
      <p:sp>
        <p:nvSpPr>
          <p:cNvPr id="3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406BBE33-E4D1-486B-9143-52178C2A4EB9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7330" name="think-cell Slide" r:id="rId7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8353" name="think-cell Slide" r:id="rId4" imgW="360" imgH="360" progId="">
              <p:embed/>
            </p:oleObj>
          </a:graphicData>
        </a:graphic>
      </p:graphicFrame>
      <p:pic>
        <p:nvPicPr>
          <p:cNvPr id="3" name="Picture 6" descr="Screen Clippin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5" name="Shape 54"/>
          <p:cNvPicPr preferRelativeResize="0"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47700" y="5060950"/>
            <a:ext cx="4016375" cy="1308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Shape 56"/>
          <p:cNvPicPr preferRelativeResize="0"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615950" y="561975"/>
            <a:ext cx="1346200" cy="259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9377" name="think-cell Slide" r:id="rId5" imgW="360" imgH="360" progId="">
              <p:embed/>
            </p:oleObj>
          </a:graphicData>
        </a:graphic>
      </p:graphicFrame>
      <p:sp>
        <p:nvSpPr>
          <p:cNvPr id="3" name="TextBox 6"/>
          <p:cNvSpPr txBox="1"/>
          <p:nvPr userDrawn="1"/>
        </p:nvSpPr>
        <p:spPr bwMode="white">
          <a:xfrm>
            <a:off x="11168063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DA53E4E-468B-4CCB-9E4A-29AA983BE2CD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" name="Rectangle 10"/>
          <p:cNvSpPr/>
          <p:nvPr userDrawn="1"/>
        </p:nvSpPr>
        <p:spPr bwMode="invGray">
          <a:xfrm>
            <a:off x="1387475" y="4691063"/>
            <a:ext cx="930275" cy="995362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6" name="Rectangle 11"/>
          <p:cNvSpPr/>
          <p:nvPr userDrawn="1">
            <p:custDataLst>
              <p:tags r:id="rId3"/>
            </p:custDataLst>
          </p:nvPr>
        </p:nvSpPr>
        <p:spPr>
          <a:xfrm>
            <a:off x="2509838" y="4691063"/>
            <a:ext cx="1570037" cy="1468437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0000" rIns="182880" bIns="182880"/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7" name="TextBox 1"/>
          <p:cNvSpPr txBox="1"/>
          <p:nvPr userDrawn="1"/>
        </p:nvSpPr>
        <p:spPr>
          <a:xfrm>
            <a:off x="630238" y="906463"/>
            <a:ext cx="3448050" cy="3589337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612000" tIns="46800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TextBox 1"/>
          <p:cNvSpPr txBox="1"/>
          <p:nvPr userDrawn="1"/>
        </p:nvSpPr>
        <p:spPr>
          <a:xfrm>
            <a:off x="977900" y="1116013"/>
            <a:ext cx="2752725" cy="88106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Agenda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0401" name="think-cell Slide" r:id="rId4" imgW="360" imgH="360" progId="">
              <p:embed/>
            </p:oleObj>
          </a:graphicData>
        </a:graphic>
      </p:graphicFrame>
      <p:sp>
        <p:nvSpPr>
          <p:cNvPr id="3" name="TextBox 6"/>
          <p:cNvSpPr txBox="1"/>
          <p:nvPr userDrawn="1"/>
        </p:nvSpPr>
        <p:spPr bwMode="white">
          <a:xfrm>
            <a:off x="11168063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3DA5E9C-24D7-4AB3-B844-F3404D9665DB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" name="Rectangle 9"/>
          <p:cNvSpPr/>
          <p:nvPr userDrawn="1"/>
        </p:nvSpPr>
        <p:spPr bwMode="white">
          <a:xfrm>
            <a:off x="1284288" y="1428750"/>
            <a:ext cx="947737" cy="947738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6" name="Rectangle 12"/>
          <p:cNvSpPr/>
          <p:nvPr userDrawn="1"/>
        </p:nvSpPr>
        <p:spPr>
          <a:xfrm>
            <a:off x="1285875" y="2667000"/>
            <a:ext cx="9618663" cy="32004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1425" name="think-cell Slide" r:id="rId4" imgW="360" imgH="360" progId="">
              <p:embed/>
            </p:oleObj>
          </a:graphicData>
        </a:graphic>
      </p:graphicFrame>
      <p:sp>
        <p:nvSpPr>
          <p:cNvPr id="3" name="TextBox 6"/>
          <p:cNvSpPr txBox="1"/>
          <p:nvPr userDrawn="1"/>
        </p:nvSpPr>
        <p:spPr bwMode="white">
          <a:xfrm>
            <a:off x="11168063" y="6403975"/>
            <a:ext cx="381000" cy="15398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70A5301-5C96-43F0-9183-969E55CE0EE6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630238" y="622300"/>
            <a:ext cx="7189787" cy="4714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defRPr/>
            </a:pPr>
            <a:r>
              <a:rPr lang="en-US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6" name="Straight Connector 12"/>
          <p:cNvCxnSpPr/>
          <p:nvPr userDrawn="1"/>
        </p:nvCxnSpPr>
        <p:spPr bwMode="white">
          <a:xfrm>
            <a:off x="619125" y="1206500"/>
            <a:ext cx="11576050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2449" name="think-cell Slide" r:id="rId5" imgW="360" imgH="360" progId="">
              <p:embed/>
            </p:oleObj>
          </a:graphicData>
        </a:graphic>
      </p:graphicFrame>
      <p:pic>
        <p:nvPicPr>
          <p:cNvPr id="3" name="Picture 9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70300" y="0"/>
            <a:ext cx="417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2"/>
          <p:cNvSpPr/>
          <p:nvPr userDrawn="1"/>
        </p:nvSpPr>
        <p:spPr bwMode="white">
          <a:xfrm>
            <a:off x="4081463" y="-1588"/>
            <a:ext cx="8110537" cy="685958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TextBox 14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3696CB3A-DC42-4487-B972-50FC3491C947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TextBox 16"/>
          <p:cNvSpPr txBox="1"/>
          <p:nvPr userDrawn="1"/>
        </p:nvSpPr>
        <p:spPr>
          <a:xfrm>
            <a:off x="630238" y="3208338"/>
            <a:ext cx="1546225" cy="442912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32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Agenda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3473" name="think-cell Slide" r:id="rId6" imgW="360" imgH="360" progId="">
              <p:embed/>
            </p:oleObj>
          </a:graphicData>
        </a:graphic>
      </p:graphicFrame>
      <p:sp>
        <p:nvSpPr>
          <p:cNvPr id="3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2E02FCDD-4AF3-47DB-91F1-0D619DDC36E6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3474" name="think-cell Slide" r:id="rId7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7"/>
          <p:cNvSpPr/>
          <p:nvPr userDrawn="1"/>
        </p:nvSpPr>
        <p:spPr bwMode="invGray">
          <a:xfrm>
            <a:off x="1387475" y="4691063"/>
            <a:ext cx="930275" cy="995362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7" name="Rectangle 9"/>
          <p:cNvSpPr/>
          <p:nvPr userDrawn="1">
            <p:custDataLst>
              <p:tags r:id="rId4"/>
            </p:custDataLst>
          </p:nvPr>
        </p:nvSpPr>
        <p:spPr>
          <a:xfrm>
            <a:off x="2509838" y="4691063"/>
            <a:ext cx="1570037" cy="1468437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0000" rIns="182880" bIns="182880"/>
          <a:lstStyle/>
          <a:p>
            <a:pPr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TextBox 10"/>
          <p:cNvSpPr txBox="1"/>
          <p:nvPr userDrawn="1"/>
        </p:nvSpPr>
        <p:spPr>
          <a:xfrm>
            <a:off x="630238" y="906463"/>
            <a:ext cx="3448050" cy="3614737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lIns="612000" tIns="46800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900" y="1116013"/>
            <a:ext cx="2752725" cy="88106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defRPr/>
            </a:pPr>
            <a:r>
              <a:rPr lang="en-US" dirty="0">
                <a:solidFill>
                  <a:srgbClr val="595959"/>
                </a:solidFill>
                <a:cs typeface="+mn-cs"/>
                <a:sym typeface="PT Sans Caption" panose="020B0603020203020204" charset="0"/>
              </a:rPr>
              <a:t>Agenda</a:t>
            </a: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9201" name="think-cell Slide" r:id="rId5" imgW="360" imgH="360" progId="">
              <p:embed/>
            </p:oleObj>
          </a:graphicData>
        </a:graphic>
      </p:graphicFrame>
      <p:pic>
        <p:nvPicPr>
          <p:cNvPr id="4" name="Picture 15"/>
          <p:cNvPicPr>
            <a:picLocks noChangeAspect="1"/>
          </p:cNvPicPr>
          <p:nvPr userDrawn="1"/>
        </p:nvPicPr>
        <p:blipFill>
          <a:blip r:embed="rId6"/>
          <a:srcRect l="29398" t="27" r="101" b="8742"/>
          <a:stretch>
            <a:fillRect/>
          </a:stretch>
        </p:blipFill>
        <p:spPr bwMode="ltGray">
          <a:xfrm>
            <a:off x="4065588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TextBox 19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2C4B5B8-8E40-4893-AF07-DF7EFCE3631E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Rectangle 25"/>
          <p:cNvSpPr/>
          <p:nvPr userDrawn="1"/>
        </p:nvSpPr>
        <p:spPr bwMode="white">
          <a:xfrm>
            <a:off x="0" y="0"/>
            <a:ext cx="4079875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4497" name="think-cell Slide" r:id="rId5" imgW="360" imgH="360" progId="">
              <p:embed/>
            </p:oleObj>
          </a:graphicData>
        </a:graphic>
      </p:graphicFrame>
      <p:sp>
        <p:nvSpPr>
          <p:cNvPr id="3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15E8031-D173-458E-8E24-6DEAACEFD3AF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4498" name="think-cell Slide" r:id="rId6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7"/>
          <p:cNvSpPr/>
          <p:nvPr userDrawn="1"/>
        </p:nvSpPr>
        <p:spPr bwMode="white">
          <a:xfrm>
            <a:off x="1284288" y="1428750"/>
            <a:ext cx="947737" cy="947738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7" name="Rectangle 9"/>
          <p:cNvSpPr/>
          <p:nvPr userDrawn="1"/>
        </p:nvSpPr>
        <p:spPr>
          <a:xfrm>
            <a:off x="1285875" y="2667000"/>
            <a:ext cx="9618663" cy="3200400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5521" name="think-cell Slide" r:id="rId5" imgW="360" imgH="360" progId="">
              <p:embed/>
            </p:oleObj>
          </a:graphicData>
        </a:graphic>
      </p:graphicFrame>
      <p:sp>
        <p:nvSpPr>
          <p:cNvPr id="3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5724CC3-DA2F-455E-BDD5-D427472C7B73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5522" name="think-cell Slide" r:id="rId6" imgW="360" imgH="360" progId="">
              <p:embed/>
            </p:oleObj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630238" y="622300"/>
            <a:ext cx="7189787" cy="4714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fontAlgn="auto">
              <a:defRPr/>
            </a:pPr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7" name="Straight Connector 8"/>
          <p:cNvCxnSpPr/>
          <p:nvPr userDrawn="1"/>
        </p:nvCxnSpPr>
        <p:spPr bwMode="white">
          <a:xfrm>
            <a:off x="619125" y="1206500"/>
            <a:ext cx="11576050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5" name="think-cell Slide" r:id="rId5" imgW="360" imgH="360" progId="">
              <p:embed/>
            </p:oleObj>
          </a:graphicData>
        </a:graphic>
      </p:graphicFrame>
      <p:pic>
        <p:nvPicPr>
          <p:cNvPr id="3" name="Picture 22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70300" y="0"/>
            <a:ext cx="417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5"/>
          <p:cNvSpPr/>
          <p:nvPr userDrawn="1"/>
        </p:nvSpPr>
        <p:spPr bwMode="ltGray">
          <a:xfrm>
            <a:off x="4081463" y="-1588"/>
            <a:ext cx="8110537" cy="68595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TextBox 27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0DA70292-6742-4704-A4A8-6DBB1157181A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TextBox 9"/>
          <p:cNvSpPr txBox="1"/>
          <p:nvPr userDrawn="1"/>
        </p:nvSpPr>
        <p:spPr>
          <a:xfrm>
            <a:off x="630238" y="3262313"/>
            <a:ext cx="1160462" cy="33178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4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Agenda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69" name="think-cell Slide" r:id="rId4" imgW="360" imgH="360" progId="">
              <p:embed/>
            </p:oleObj>
          </a:graphicData>
        </a:graphic>
      </p:graphicFrame>
      <p:sp>
        <p:nvSpPr>
          <p:cNvPr id="3" name="Freeform 12"/>
          <p:cNvSpPr/>
          <p:nvPr/>
        </p:nvSpPr>
        <p:spPr bwMode="ltGray">
          <a:xfrm>
            <a:off x="0" y="0"/>
            <a:ext cx="40878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4" name="Freeform 12"/>
          <p:cNvSpPr/>
          <p:nvPr userDrawn="1"/>
        </p:nvSpPr>
        <p:spPr bwMode="ltGray">
          <a:xfrm>
            <a:off x="0" y="0"/>
            <a:ext cx="4087813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extBox 19"/>
          <p:cNvSpPr txBox="1"/>
          <p:nvPr userDrawn="1"/>
        </p:nvSpPr>
        <p:spPr>
          <a:xfrm>
            <a:off x="630238" y="2578100"/>
            <a:ext cx="3171825" cy="17621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fontAlgn="auto">
              <a:lnSpc>
                <a:spcPct val="106000"/>
              </a:lnSpc>
              <a:spcBef>
                <a:spcPts val="0"/>
              </a:spcBef>
              <a:spcAft>
                <a:spcPts val="700"/>
              </a:spcAft>
              <a:defRPr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extBox 18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A608EBE-11D6-4464-A365-E704DC5F5CEB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3108325" y="3586163"/>
            <a:ext cx="1365250" cy="338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0225" name="think-cell Slide" r:id="rId5" imgW="360" imgH="360" progId="">
              <p:embed/>
            </p:oleObj>
          </a:graphicData>
        </a:graphic>
      </p:graphicFrame>
      <p:pic>
        <p:nvPicPr>
          <p:cNvPr id="4" name="Picture 9"/>
          <p:cNvPicPr>
            <a:picLocks noChangeAspect="1"/>
          </p:cNvPicPr>
          <p:nvPr userDrawn="1"/>
        </p:nvPicPr>
        <p:blipFill>
          <a:blip r:embed="rId6"/>
          <a:srcRect l="29398" t="27" r="101" b="8742"/>
          <a:stretch>
            <a:fillRect/>
          </a:stretch>
        </p:blipFill>
        <p:spPr bwMode="ltGray">
          <a:xfrm>
            <a:off x="7165975" y="0"/>
            <a:ext cx="4159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2"/>
          <p:cNvSpPr/>
          <p:nvPr userDrawn="1"/>
        </p:nvSpPr>
        <p:spPr bwMode="white">
          <a:xfrm>
            <a:off x="0" y="0"/>
            <a:ext cx="7172325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extBox 16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D438F76-8C2C-4EA2-8300-61217B9C8BC0}" type="slidenum">
              <a:rPr lang="en-US" sz="10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1249" name="think-cell Slide" r:id="rId5" imgW="360" imgH="360" progId="">
              <p:embed/>
            </p:oleObj>
          </a:graphicData>
        </a:graphic>
      </p:graphicFrame>
      <p:pic>
        <p:nvPicPr>
          <p:cNvPr id="4" name="Picture 9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3670300" y="0"/>
            <a:ext cx="417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2"/>
          <p:cNvSpPr/>
          <p:nvPr userDrawn="1"/>
        </p:nvSpPr>
        <p:spPr bwMode="white">
          <a:xfrm>
            <a:off x="4081463" y="-1588"/>
            <a:ext cx="8110537" cy="685958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6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extBox 14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BB68850-0908-43E9-AA46-83C1B8901CF4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rotWithShape="1">
          <a:gsLst>
            <a:gs pos="0">
              <a:srgbClr val="6E6F73"/>
            </a:gs>
            <a:gs pos="100000">
              <a:srgbClr val="6E6F73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2273" name="think-cell Slide" r:id="rId5" imgW="360" imgH="360" progId="">
              <p:embed/>
            </p:oleObj>
          </a:graphicData>
        </a:graphic>
      </p:graphicFrame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6"/>
          <a:srcRect l="101" t="8742" r="29398" b="27"/>
          <a:stretch>
            <a:fillRect/>
          </a:stretch>
        </p:blipFill>
        <p:spPr bwMode="ltGray">
          <a:xfrm>
            <a:off x="5689600" y="0"/>
            <a:ext cx="4175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 dirty="0">
              <a:solidFill>
                <a:schemeClr val="bg1"/>
              </a:solidFill>
              <a:sym typeface="PT Sans Caption" panose="020B0603020203020204" charset="0"/>
            </a:endParaRPr>
          </a:p>
        </p:txBody>
      </p:sp>
      <p:sp>
        <p:nvSpPr>
          <p:cNvPr id="7" name="TextBox 14"/>
          <p:cNvSpPr txBox="1"/>
          <p:nvPr userDrawn="1"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399753A-97FB-47A9-8F9C-838F28350C49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8" name="Copyright" hidden="1"/>
          <p:cNvSpPr txBox="1"/>
          <p:nvPr userDrawn="1"/>
        </p:nvSpPr>
        <p:spPr>
          <a:xfrm rot="16200000">
            <a:off x="9486900" y="3921125"/>
            <a:ext cx="5133975" cy="984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0844" y="5117306"/>
            <a:ext cx="2743200" cy="96838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20180820-ФАС Артемьев ГЧП-</a:t>
            </a: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t>v03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ru-RU" noProof="0" dirty="0">
                <a:sym typeface="PT Sans Caption" panose="020B0603020203020204" charset="0"/>
              </a:rPr>
              <a:t>Вставка рисунка</a:t>
            </a:r>
            <a:endParaRPr lang="en-US" noProof="0" dirty="0"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rIns="32004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8" name="Object 4"/>
          <p:cNvGraphicFramePr>
            <a:graphicFrameLocks noChangeAspect="1"/>
          </p:cNvGraphicFramePr>
          <p:nvPr>
            <p:custDataLst>
              <p:tags r:id="rId6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8" name="think-cell Slide" r:id="rId67" imgW="360" imgH="360" progId="">
              <p:embed/>
            </p:oleObj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563"/>
            <a:ext cx="1482725" cy="1539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11168063" y="6405563"/>
            <a:ext cx="381000" cy="15398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4D65666-DAA4-4E13-8B0D-063685C55A32}" type="slidenum">
              <a:rPr lang="en-US"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cs typeface="+mn-cs"/>
                <a:sym typeface="PT Sans Caption" panose="020B060302020302020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cs typeface="+mn-cs"/>
              <a:sym typeface="PT Sans Caption" panose="020B0603020203020204" charset="0"/>
            </a:endParaRPr>
          </a:p>
        </p:txBody>
      </p:sp>
      <p:sp>
        <p:nvSpPr>
          <p:cNvPr id="1032" name="Title Placeholder 1"/>
          <p:cNvSpPr>
            <a:spLocks noGrp="1"/>
          </p:cNvSpPr>
          <p:nvPr>
            <p:ph type="title"/>
          </p:nvPr>
        </p:nvSpPr>
        <p:spPr bwMode="auto">
          <a:xfrm>
            <a:off x="630238" y="622300"/>
            <a:ext cx="10933112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>
                <a:sym typeface="PT Sans Caption"/>
              </a:rPr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238" y="1825625"/>
            <a:ext cx="10933112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45" r:id="rId1"/>
    <p:sldLayoutId id="2147485246" r:id="rId2"/>
    <p:sldLayoutId id="2147485247" r:id="rId3"/>
    <p:sldLayoutId id="2147485248" r:id="rId4"/>
    <p:sldLayoutId id="2147485249" r:id="rId5"/>
    <p:sldLayoutId id="2147485250" r:id="rId6"/>
    <p:sldLayoutId id="2147485251" r:id="rId7"/>
    <p:sldLayoutId id="2147485252" r:id="rId8"/>
    <p:sldLayoutId id="2147485253" r:id="rId9"/>
    <p:sldLayoutId id="2147485254" r:id="rId10"/>
    <p:sldLayoutId id="2147485255" r:id="rId11"/>
    <p:sldLayoutId id="2147485256" r:id="rId12"/>
    <p:sldLayoutId id="2147485257" r:id="rId13"/>
    <p:sldLayoutId id="2147485258" r:id="rId14"/>
    <p:sldLayoutId id="2147485259" r:id="rId15"/>
    <p:sldLayoutId id="2147485260" r:id="rId16"/>
    <p:sldLayoutId id="2147485261" r:id="rId17"/>
    <p:sldLayoutId id="2147485262" r:id="rId18"/>
    <p:sldLayoutId id="2147485263" r:id="rId19"/>
    <p:sldLayoutId id="2147485264" r:id="rId20"/>
    <p:sldLayoutId id="2147485265" r:id="rId21"/>
    <p:sldLayoutId id="2147485266" r:id="rId22"/>
    <p:sldLayoutId id="2147485267" r:id="rId23"/>
    <p:sldLayoutId id="2147485268" r:id="rId24"/>
    <p:sldLayoutId id="2147485269" r:id="rId25"/>
    <p:sldLayoutId id="2147485270" r:id="rId26"/>
    <p:sldLayoutId id="2147485271" r:id="rId27"/>
    <p:sldLayoutId id="2147485272" r:id="rId28"/>
    <p:sldLayoutId id="2147485273" r:id="rId29"/>
    <p:sldLayoutId id="2147485274" r:id="rId30"/>
    <p:sldLayoutId id="2147485275" r:id="rId31"/>
    <p:sldLayoutId id="2147485276" r:id="rId32"/>
    <p:sldLayoutId id="2147485277" r:id="rId33"/>
    <p:sldLayoutId id="2147485278" r:id="rId34"/>
    <p:sldLayoutId id="2147485279" r:id="rId35"/>
    <p:sldLayoutId id="2147485280" r:id="rId36"/>
    <p:sldLayoutId id="2147485281" r:id="rId37"/>
    <p:sldLayoutId id="2147485282" r:id="rId38"/>
    <p:sldLayoutId id="2147485283" r:id="rId39"/>
    <p:sldLayoutId id="2147485284" r:id="rId40"/>
    <p:sldLayoutId id="2147485285" r:id="rId41"/>
    <p:sldLayoutId id="2147485286" r:id="rId42"/>
    <p:sldLayoutId id="2147485287" r:id="rId43"/>
    <p:sldLayoutId id="2147485288" r:id="rId44"/>
    <p:sldLayoutId id="2147485289" r:id="rId45"/>
    <p:sldLayoutId id="2147485290" r:id="rId46"/>
    <p:sldLayoutId id="2147485291" r:id="rId47"/>
    <p:sldLayoutId id="2147485292" r:id="rId48"/>
    <p:sldLayoutId id="2147485293" r:id="rId49"/>
    <p:sldLayoutId id="2147485294" r:id="rId50"/>
    <p:sldLayoutId id="2147485295" r:id="rId51"/>
    <p:sldLayoutId id="2147485296" r:id="rId52"/>
    <p:sldLayoutId id="2147485297" r:id="rId53"/>
    <p:sldLayoutId id="2147485298" r:id="rId54"/>
    <p:sldLayoutId id="2147485299" r:id="rId55"/>
    <p:sldLayoutId id="2147485300" r:id="rId56"/>
    <p:sldLayoutId id="2147485301" r:id="rId57"/>
    <p:sldLayoutId id="2147485302" r:id="rId58"/>
    <p:sldLayoutId id="2147485303" r:id="rId59"/>
    <p:sldLayoutId id="2147485304" r:id="rId60"/>
    <p:sldLayoutId id="2147485305" r:id="rId61"/>
    <p:sldLayoutId id="2147485306" r:id="rId62"/>
    <p:sldLayoutId id="2147485307" r:id="rId63"/>
  </p:sldLayoutIdLst>
  <p:transition>
    <p:fade/>
  </p:transition>
  <p:hf sldNum="0"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595959"/>
          </a:solidFill>
          <a:latin typeface="PT Sans Caption"/>
          <a:sym typeface="PT Sans Caption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595959"/>
          </a:solidFill>
          <a:latin typeface="PT Sans Caption"/>
          <a:sym typeface="PT Sans Caption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595959"/>
          </a:solidFill>
          <a:latin typeface="PT Sans Caption"/>
          <a:sym typeface="PT Sans Caption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595959"/>
          </a:solidFill>
          <a:latin typeface="PT Sans Caption"/>
          <a:sym typeface="PT Sans Caption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595959"/>
          </a:solidFill>
          <a:latin typeface="PT Sans Caption"/>
          <a:sym typeface="PT Sans Caption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595959"/>
          </a:solidFill>
          <a:latin typeface="PT Sans Caption"/>
          <a:sym typeface="PT Sans Caption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595959"/>
          </a:solidFill>
          <a:latin typeface="PT Sans Caption"/>
          <a:sym typeface="PT Sans Caption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595959"/>
          </a:solidFill>
          <a:latin typeface="PT Sans Caption"/>
          <a:sym typeface="PT Sans Caption"/>
        </a:defRPr>
      </a:lvl9pPr>
    </p:titleStyle>
    <p:bodyStyle>
      <a:lvl1pPr algn="l" rtl="0" fontAlgn="base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/>
        </a:defRPr>
      </a:lvl1pPr>
      <a:lvl2pPr marL="284163" indent="-171450" algn="l" rtl="0" fontAlgn="base">
        <a:lnSpc>
          <a:spcPct val="90000"/>
        </a:lnSpc>
        <a:spcBef>
          <a:spcPct val="0"/>
        </a:spcBef>
        <a:spcAft>
          <a:spcPts val="300"/>
        </a:spcAft>
        <a:buClr>
          <a:srgbClr val="595959"/>
        </a:buClr>
        <a:buFont typeface="Arial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/>
        </a:defRPr>
      </a:lvl2pPr>
      <a:lvl3pPr marL="511175" indent="-165100" algn="l" rtl="0" fontAlgn="base">
        <a:lnSpc>
          <a:spcPct val="90000"/>
        </a:lnSpc>
        <a:spcBef>
          <a:spcPct val="0"/>
        </a:spcBef>
        <a:spcAft>
          <a:spcPts val="300"/>
        </a:spcAft>
        <a:buClr>
          <a:srgbClr val="595959"/>
        </a:buClr>
        <a:buFont typeface="Trebuchet MS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/>
        </a:defRPr>
      </a:lvl3pPr>
      <a:lvl4pPr algn="l" rtl="0" fontAlgn="base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/>
        </a:defRPr>
      </a:lvl4pPr>
      <a:lvl5pPr algn="l" rtl="0" fontAlgn="base">
        <a:spcBef>
          <a:spcPct val="0"/>
        </a:spcBef>
        <a:spcAft>
          <a:spcPts val="300"/>
        </a:spcAft>
        <a:buClr>
          <a:srgbClr val="595959"/>
        </a:buClr>
        <a:buFont typeface="Arial" charset="0"/>
        <a:buChar char="​"/>
        <a:defRPr lang="en-US" sz="1600" b="1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8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8.png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49.png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91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51.jpeg"/><Relationship Id="rId5" Type="http://schemas.openxmlformats.org/officeDocument/2006/relationships/image" Target="../media/image5.png"/><Relationship Id="rId4" Type="http://schemas.openxmlformats.org/officeDocument/2006/relationships/oleObject" Target="../embeddings/oleObject92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hyperlink" Target="https://&#1095;&#1077;&#1089;&#1090;&#1085;&#1099;&#1081;&#1079;&#1085;&#1072;&#1082;.&#1088;&#1092;/" TargetMode="External"/><Relationship Id="rId2" Type="http://schemas.openxmlformats.org/officeDocument/2006/relationships/tags" Target="../tags/tag150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57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9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9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8.png"/><Relationship Id="rId2" Type="http://schemas.openxmlformats.org/officeDocument/2006/relationships/tags" Target="../tags/tag134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81.bin"/><Relationship Id="rId4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59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58.png"/><Relationship Id="rId5" Type="http://schemas.openxmlformats.org/officeDocument/2006/relationships/image" Target="../media/image5.png"/><Relationship Id="rId10" Type="http://schemas.openxmlformats.org/officeDocument/2006/relationships/image" Target="../media/image62.png"/><Relationship Id="rId4" Type="http://schemas.openxmlformats.org/officeDocument/2006/relationships/oleObject" Target="../embeddings/oleObject95.bin"/><Relationship Id="rId9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63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96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97.bin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mailto:support@crpt.ru" TargetMode="External"/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crpt.ru/" TargetMode="External"/><Relationship Id="rId2" Type="http://schemas.openxmlformats.org/officeDocument/2006/relationships/tags" Target="../tags/tag155.xml"/><Relationship Id="rId1" Type="http://schemas.openxmlformats.org/officeDocument/2006/relationships/vmlDrawing" Target="../drawings/vmlDrawing83.vml"/><Relationship Id="rId6" Type="http://schemas.openxmlformats.org/officeDocument/2006/relationships/hyperlink" Target="https://&#1095;&#1077;&#1089;&#1090;&#1085;&#1099;&#1081;&#1079;&#1085;&#1072;&#1082;.&#1088;&#1092;/" TargetMode="External"/><Relationship Id="rId5" Type="http://schemas.openxmlformats.org/officeDocument/2006/relationships/image" Target="../media/image65.jpeg"/><Relationship Id="rId4" Type="http://schemas.openxmlformats.org/officeDocument/2006/relationships/oleObject" Target="../embeddings/oleObject98.bin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1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8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tags" Target="../tags/tag138.xml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tags" Target="../tags/tag137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83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69.vml"/><Relationship Id="rId6" Type="http://schemas.openxmlformats.org/officeDocument/2006/relationships/hyperlink" Target="https://regulation.gov.ru/projects" TargetMode="External"/><Relationship Id="rId5" Type="http://schemas.openxmlformats.org/officeDocument/2006/relationships/image" Target="../media/image5.png"/><Relationship Id="rId4" Type="http://schemas.openxmlformats.org/officeDocument/2006/relationships/oleObject" Target="../embeddings/oleObject8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32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85.bin"/><Relationship Id="rId4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86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tags" Target="../tags/tag143.xml"/><Relationship Id="rId16" Type="http://schemas.openxmlformats.org/officeDocument/2006/relationships/image" Target="../media/image44.png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5.png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87.bin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8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564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6564" name="think-cell Slide" r:id="rId6" imgW="360" imgH="360" progId="">
              <p:embed/>
            </p:oleObj>
          </a:graphicData>
        </a:graphic>
      </p:graphicFrame>
      <p:sp>
        <p:nvSpPr>
          <p:cNvPr id="2" name="Прямоугольник 1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ru-RU" sz="2400" dirty="0">
              <a:solidFill>
                <a:srgbClr val="FFFFFF"/>
              </a:solidFill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66566" name="Title 3"/>
          <p:cNvSpPr>
            <a:spLocks noGrp="1"/>
          </p:cNvSpPr>
          <p:nvPr>
            <p:ph type="title"/>
          </p:nvPr>
        </p:nvSpPr>
        <p:spPr>
          <a:xfrm>
            <a:off x="2852738" y="2384425"/>
            <a:ext cx="9424987" cy="1228725"/>
          </a:xfrm>
        </p:spPr>
        <p:txBody>
          <a:bodyPr>
            <a:spAutoFit/>
          </a:bodyPr>
          <a:lstStyle/>
          <a:p>
            <a:r>
              <a:rPr lang="ru-RU" sz="3200" smtClean="0">
                <a:latin typeface="PT Sans Caption"/>
              </a:rPr>
              <a:t>Национальная система цифровой  </a:t>
            </a:r>
            <a:br>
              <a:rPr lang="ru-RU" sz="3200" smtClean="0">
                <a:latin typeface="PT Sans Caption"/>
              </a:rPr>
            </a:br>
            <a:r>
              <a:rPr lang="ru-RU" sz="3200" smtClean="0">
                <a:latin typeface="PT Sans Caption"/>
              </a:rPr>
              <a:t>маркировки и прослеживания сигарет</a:t>
            </a:r>
            <a:br>
              <a:rPr lang="ru-RU" sz="3200" smtClean="0">
                <a:latin typeface="PT Sans Caption"/>
              </a:rPr>
            </a:br>
            <a:r>
              <a:rPr lang="ru-RU" sz="3200" smtClean="0">
                <a:latin typeface="PT Sans Caption"/>
              </a:rPr>
              <a:t/>
            </a:r>
            <a:br>
              <a:rPr lang="ru-RU" sz="3200" smtClean="0">
                <a:latin typeface="PT Sans Caption"/>
              </a:rPr>
            </a:br>
            <a:r>
              <a:rPr lang="ru-RU" sz="3200" smtClean="0">
                <a:latin typeface="PT Sans Caption"/>
              </a:rPr>
              <a:t>Лев Авдеев</a:t>
            </a:r>
            <a:endParaRPr lang="en-US" sz="3200" smtClean="0">
              <a:latin typeface="PT Sans Caption"/>
            </a:endParaRP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780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5780" name="think-cell Slide" r:id="rId5" imgW="360" imgH="360" progId="">
              <p:embed/>
            </p:oleObj>
          </a:graphicData>
        </a:graphic>
      </p:graphicFrame>
      <p:sp>
        <p:nvSpPr>
          <p:cNvPr id="2" name="Rectangle 1"/>
          <p:cNvSpPr/>
          <p:nvPr/>
        </p:nvSpPr>
        <p:spPr>
          <a:xfrm>
            <a:off x="11131550" y="6211888"/>
            <a:ext cx="923925" cy="48736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bg-BG" sz="1200" dirty="0">
              <a:solidFill>
                <a:srgbClr val="FFFFFF"/>
              </a:solidFill>
              <a:sym typeface="PT Sans Caption" panose="020B0603020203020204" pitchFamily="34" charset="0"/>
            </a:endParaRPr>
          </a:p>
        </p:txBody>
      </p:sp>
      <p:sp>
        <p:nvSpPr>
          <p:cNvPr id="75782" name="Oval 16"/>
          <p:cNvSpPr>
            <a:spLocks noChangeArrowheads="1"/>
          </p:cNvSpPr>
          <p:nvPr/>
        </p:nvSpPr>
        <p:spPr bwMode="auto">
          <a:xfrm>
            <a:off x="9017000" y="5351463"/>
            <a:ext cx="571500" cy="571500"/>
          </a:xfrm>
          <a:prstGeom prst="ellips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bg-BG">
              <a:latin typeface="PT Sans Caption"/>
              <a:sym typeface="PT Sans Caption"/>
            </a:endParaRPr>
          </a:p>
        </p:txBody>
      </p:sp>
      <p:sp>
        <p:nvSpPr>
          <p:cNvPr id="75783" name="Freeform 17"/>
          <p:cNvSpPr>
            <a:spLocks/>
          </p:cNvSpPr>
          <p:nvPr/>
        </p:nvSpPr>
        <p:spPr bwMode="auto">
          <a:xfrm>
            <a:off x="9086850" y="5426075"/>
            <a:ext cx="431800" cy="417513"/>
          </a:xfrm>
          <a:custGeom>
            <a:avLst/>
            <a:gdLst>
              <a:gd name="T0" fmla="*/ 185056 w 84"/>
              <a:gd name="T1" fmla="*/ 344410 h 81"/>
              <a:gd name="T2" fmla="*/ 35983 w 84"/>
              <a:gd name="T3" fmla="*/ 200477 h 81"/>
              <a:gd name="T4" fmla="*/ 0 w 84"/>
              <a:gd name="T5" fmla="*/ 231320 h 81"/>
              <a:gd name="T6" fmla="*/ 195337 w 84"/>
              <a:gd name="T7" fmla="*/ 416376 h 81"/>
              <a:gd name="T8" fmla="*/ 431798 w 84"/>
              <a:gd name="T9" fmla="*/ 20562 h 81"/>
              <a:gd name="T10" fmla="*/ 390674 w 84"/>
              <a:gd name="T11" fmla="*/ 0 h 81"/>
              <a:gd name="T12" fmla="*/ 185056 w 84"/>
              <a:gd name="T13" fmla="*/ 344410 h 8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4"/>
              <a:gd name="T22" fmla="*/ 0 h 81"/>
              <a:gd name="T23" fmla="*/ 84 w 84"/>
              <a:gd name="T24" fmla="*/ 81 h 8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4" h="81">
                <a:moveTo>
                  <a:pt x="36" y="67"/>
                </a:moveTo>
                <a:lnTo>
                  <a:pt x="7" y="39"/>
                </a:lnTo>
                <a:lnTo>
                  <a:pt x="0" y="45"/>
                </a:lnTo>
                <a:lnTo>
                  <a:pt x="38" y="81"/>
                </a:lnTo>
                <a:lnTo>
                  <a:pt x="84" y="4"/>
                </a:lnTo>
                <a:lnTo>
                  <a:pt x="76" y="0"/>
                </a:lnTo>
                <a:lnTo>
                  <a:pt x="36" y="67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7" name="Заголовок 6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13" y="330200"/>
            <a:ext cx="10523537" cy="29845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sz="2160" b="1" dirty="0"/>
              <a:t>Пилотный проект по маркировке табачной продукции </a:t>
            </a:r>
          </a:p>
        </p:txBody>
      </p:sp>
      <p:sp>
        <p:nvSpPr>
          <p:cNvPr id="75785" name="Прямоугольник 23"/>
          <p:cNvSpPr>
            <a:spLocks noChangeArrowheads="1"/>
          </p:cNvSpPr>
          <p:nvPr/>
        </p:nvSpPr>
        <p:spPr bwMode="auto">
          <a:xfrm>
            <a:off x="182563" y="1473200"/>
            <a:ext cx="11826875" cy="172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07000"/>
              </a:lnSpc>
              <a:buFont typeface="Arial" charset="0"/>
              <a:buChar char="•"/>
            </a:pPr>
            <a:r>
              <a:rPr lang="ru-RU" sz="2000" b="1">
                <a:solidFill>
                  <a:srgbClr val="595959"/>
                </a:solidFill>
                <a:latin typeface="Calibri" pitchFamily="34" charset="0"/>
              </a:rPr>
              <a:t>Более 2 200 участников зарегистрировано </a:t>
            </a:r>
          </a:p>
          <a:p>
            <a:pPr marL="342900" indent="-342900">
              <a:lnSpc>
                <a:spcPct val="107000"/>
              </a:lnSpc>
              <a:buFont typeface="Arial" charset="0"/>
              <a:buChar char="•"/>
            </a:pPr>
            <a:r>
              <a:rPr lang="ru-RU" sz="2000" b="1">
                <a:solidFill>
                  <a:srgbClr val="595959"/>
                </a:solidFill>
                <a:latin typeface="Calibri" pitchFamily="34" charset="0"/>
              </a:rPr>
              <a:t>Более 180 млн пачек</a:t>
            </a:r>
            <a:r>
              <a:rPr lang="ru-RU" sz="2000" b="1">
                <a:solidFill>
                  <a:srgbClr val="595959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 продукции промаркировано</a:t>
            </a:r>
          </a:p>
          <a:p>
            <a:pPr marL="342900" indent="-342900">
              <a:lnSpc>
                <a:spcPct val="107000"/>
              </a:lnSpc>
              <a:buFont typeface="Arial" charset="0"/>
              <a:buChar char="•"/>
            </a:pPr>
            <a:r>
              <a:rPr lang="ru-RU" sz="2000" b="1">
                <a:solidFill>
                  <a:srgbClr val="595959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олее 1,9 млн пачек продано в розницу</a:t>
            </a:r>
          </a:p>
          <a:p>
            <a:pPr marL="342900" indent="-342900">
              <a:lnSpc>
                <a:spcPct val="107000"/>
              </a:lnSpc>
              <a:buFont typeface="Arial" charset="0"/>
              <a:buChar char="•"/>
            </a:pPr>
            <a:r>
              <a:rPr lang="bg-BG" sz="2000" b="1">
                <a:solidFill>
                  <a:srgbClr val="595959"/>
                </a:solidFill>
                <a:latin typeface="Calibri" pitchFamily="34" charset="0"/>
                <a:sym typeface="PT Sans Caption"/>
              </a:rPr>
              <a:t>Мобильное приложение – инструмент гражданского контроля</a:t>
            </a:r>
          </a:p>
          <a:p>
            <a:pPr marL="342900" indent="-342900">
              <a:lnSpc>
                <a:spcPct val="107000"/>
              </a:lnSpc>
              <a:buFont typeface="Arial" charset="0"/>
              <a:buChar char="•"/>
            </a:pPr>
            <a:r>
              <a:rPr lang="bg-BG" sz="2000" b="1">
                <a:solidFill>
                  <a:srgbClr val="595959"/>
                </a:solidFill>
                <a:latin typeface="Calibri" pitchFamily="34" charset="0"/>
                <a:sym typeface="PT Sans Caption"/>
              </a:rPr>
              <a:t>В проекте участвуют производители, которые выпускают более 90% сигарет</a:t>
            </a:r>
          </a:p>
        </p:txBody>
      </p:sp>
      <p:pic>
        <p:nvPicPr>
          <p:cNvPr id="75786" name="Рисунок 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333750" y="3660775"/>
            <a:ext cx="5238750" cy="297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804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6804" name="think-cell Slide" r:id="rId5" imgW="360" imgH="360" progId="">
              <p:embed/>
            </p:oleObj>
          </a:graphicData>
        </a:graphic>
      </p:graphicFrame>
      <p:sp>
        <p:nvSpPr>
          <p:cNvPr id="7" name="Заголовок 6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608013" y="330200"/>
            <a:ext cx="10523537" cy="29845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sz="2160" b="1" dirty="0"/>
              <a:t>Общественный контроль </a:t>
            </a:r>
          </a:p>
        </p:txBody>
      </p:sp>
      <p:pic>
        <p:nvPicPr>
          <p:cNvPr id="76806" name="Рисунок 2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65238" y="1804988"/>
            <a:ext cx="9661525" cy="505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807" name="Другие виды продукции – эксперимент, внедрение маркировки."/>
          <p:cNvSpPr txBox="1">
            <a:spLocks noChangeArrowheads="1"/>
          </p:cNvSpPr>
          <p:nvPr/>
        </p:nvSpPr>
        <p:spPr bwMode="auto">
          <a:xfrm>
            <a:off x="1079500" y="1225550"/>
            <a:ext cx="10033000" cy="4746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algn="ctr" defTabSz="895350">
              <a:lnSpc>
                <a:spcPct val="90000"/>
              </a:lnSpc>
              <a:buSzPct val="100000"/>
            </a:pPr>
            <a:r>
              <a:rPr lang="ru-RU" b="1">
                <a:solidFill>
                  <a:srgbClr val="58595B"/>
                </a:solidFill>
                <a:latin typeface="PT Sans Caption"/>
              </a:rPr>
              <a:t>Мобильное приложение Честный ЗНАК</a:t>
            </a:r>
          </a:p>
        </p:txBody>
      </p:sp>
    </p:spTree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828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7828" name="think-cell Slide" r:id="rId4" imgW="360" imgH="360" progId="">
              <p:embed/>
            </p:oleObj>
          </a:graphicData>
        </a:graphic>
      </p:graphicFrame>
      <p:pic>
        <p:nvPicPr>
          <p:cNvPr id="77829" name="Picture 43"/>
          <p:cNvPicPr preferRelativeResize="0">
            <a:picLocks noChangeAspect="1" noChangeArrowheads="1"/>
          </p:cNvPicPr>
          <p:nvPr/>
        </p:nvPicPr>
        <p:blipFill>
          <a:blip r:embed="rId5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7830" name="Регистрация производителей табачной продукции в информационной системе"/>
          <p:cNvSpPr txBox="1">
            <a:spLocks noChangeArrowheads="1"/>
          </p:cNvSpPr>
          <p:nvPr/>
        </p:nvSpPr>
        <p:spPr bwMode="auto">
          <a:xfrm>
            <a:off x="3262313" y="3108325"/>
            <a:ext cx="2632075" cy="984250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/>
            <a:r>
              <a:rPr lang="ru-RU" sz="1600" b="1">
                <a:solidFill>
                  <a:srgbClr val="58595B"/>
                </a:solidFill>
                <a:latin typeface="PT Sans Caption"/>
              </a:rPr>
              <a:t>Регистрация 100% производителей</a:t>
            </a:r>
            <a:r>
              <a:rPr lang="ru-RU" sz="1600">
                <a:solidFill>
                  <a:srgbClr val="58595B"/>
                </a:solidFill>
                <a:latin typeface="PT Sans Caption"/>
              </a:rPr>
              <a:t> табачной продукции </a:t>
            </a:r>
            <a:r>
              <a:rPr lang="ru-RU" sz="1600" b="1">
                <a:solidFill>
                  <a:srgbClr val="58595B"/>
                </a:solidFill>
                <a:latin typeface="PT Sans Caption"/>
              </a:rPr>
              <a:t>в </a:t>
            </a:r>
            <a:r>
              <a:rPr lang="ru-RU" sz="1600">
                <a:solidFill>
                  <a:srgbClr val="58595B"/>
                </a:solidFill>
                <a:latin typeface="PT Sans Caption"/>
              </a:rPr>
              <a:t>информационной системе</a:t>
            </a:r>
          </a:p>
        </p:txBody>
      </p:sp>
      <p:sp>
        <p:nvSpPr>
          <p:cNvPr id="77831" name="Прекращение выпуска не маркированной продукции. Регистрация первой продажи продукции производителем. Регистрация продажи маркированной продукции конечным потребителям в ККТ"/>
          <p:cNvSpPr txBox="1">
            <a:spLocks noChangeArrowheads="1"/>
          </p:cNvSpPr>
          <p:nvPr/>
        </p:nvSpPr>
        <p:spPr bwMode="auto">
          <a:xfrm>
            <a:off x="6329363" y="3038475"/>
            <a:ext cx="2632075" cy="1970088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/>
            <a:r>
              <a:rPr lang="ru-RU" sz="1600">
                <a:solidFill>
                  <a:srgbClr val="58595B"/>
                </a:solidFill>
                <a:latin typeface="PT Sans Caption"/>
              </a:rPr>
              <a:t>Прекращение выпуска не маркированной продукции. </a:t>
            </a:r>
            <a:r>
              <a:rPr lang="ru-RU" sz="1600" b="1">
                <a:solidFill>
                  <a:srgbClr val="58595B"/>
                </a:solidFill>
                <a:latin typeface="PT Sans Caption"/>
              </a:rPr>
              <a:t>Регистрация</a:t>
            </a:r>
            <a:r>
              <a:rPr lang="ru-RU" sz="1600">
                <a:solidFill>
                  <a:srgbClr val="58595B"/>
                </a:solidFill>
                <a:latin typeface="PT Sans Caption"/>
              </a:rPr>
              <a:t> первой. </a:t>
            </a:r>
          </a:p>
          <a:p>
            <a:pPr defTabSz="895350"/>
            <a:endParaRPr lang="ru-RU" sz="1600">
              <a:solidFill>
                <a:srgbClr val="58595B"/>
              </a:solidFill>
              <a:latin typeface="PT Sans Caption"/>
            </a:endParaRPr>
          </a:p>
          <a:p>
            <a:pPr defTabSz="895350"/>
            <a:r>
              <a:rPr lang="ru-RU" sz="1600">
                <a:solidFill>
                  <a:srgbClr val="58595B"/>
                </a:solidFill>
                <a:latin typeface="PT Sans Caption"/>
              </a:rPr>
              <a:t>Регистрация продажи маркированной продукции конечным потребителям при помощи ККТ</a:t>
            </a:r>
          </a:p>
        </p:txBody>
      </p:sp>
      <p:sp>
        <p:nvSpPr>
          <p:cNvPr id="77832" name="Регистрация оптового оборота табачной продукции. Прекращение оборота не маркированной продукции."/>
          <p:cNvSpPr txBox="1">
            <a:spLocks noChangeArrowheads="1"/>
          </p:cNvSpPr>
          <p:nvPr/>
        </p:nvSpPr>
        <p:spPr bwMode="auto">
          <a:xfrm>
            <a:off x="9396413" y="3038475"/>
            <a:ext cx="2630487" cy="123031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/>
            <a:r>
              <a:rPr lang="ru-RU" sz="1600" b="1">
                <a:solidFill>
                  <a:srgbClr val="58595B"/>
                </a:solidFill>
                <a:latin typeface="PT Sans Caption"/>
              </a:rPr>
              <a:t>Регистрация</a:t>
            </a:r>
            <a:r>
              <a:rPr lang="ru-RU" sz="1600">
                <a:solidFill>
                  <a:srgbClr val="58595B"/>
                </a:solidFill>
                <a:latin typeface="PT Sans Caption"/>
              </a:rPr>
              <a:t> </a:t>
            </a:r>
            <a:r>
              <a:rPr lang="ru-RU" sz="1600" b="1">
                <a:solidFill>
                  <a:srgbClr val="58595B"/>
                </a:solidFill>
                <a:latin typeface="PT Sans Caption"/>
              </a:rPr>
              <a:t>оптового оборота</a:t>
            </a:r>
            <a:r>
              <a:rPr lang="ru-RU" sz="1600">
                <a:solidFill>
                  <a:srgbClr val="58595B"/>
                </a:solidFill>
                <a:latin typeface="PT Sans Caption"/>
              </a:rPr>
              <a:t> табачной продукции. Прекращение оборота не маркированной продукции.</a:t>
            </a:r>
          </a:p>
        </p:txBody>
      </p:sp>
      <p:sp>
        <p:nvSpPr>
          <p:cNvPr id="77833" name="I этап"/>
          <p:cNvSpPr txBox="1">
            <a:spLocks noChangeArrowheads="1"/>
          </p:cNvSpPr>
          <p:nvPr/>
        </p:nvSpPr>
        <p:spPr bwMode="auto">
          <a:xfrm>
            <a:off x="109538" y="2101850"/>
            <a:ext cx="2332037" cy="49212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5350"/>
            <a:r>
              <a:rPr lang="ru-RU" sz="1600" b="1">
                <a:solidFill>
                  <a:srgbClr val="98A6CC"/>
                </a:solidFill>
                <a:latin typeface="PT Sans Caption"/>
              </a:rPr>
              <a:t>28 февраля </a:t>
            </a:r>
          </a:p>
          <a:p>
            <a:pPr algn="ctr" defTabSz="895350"/>
            <a:r>
              <a:rPr lang="ru-RU" sz="1600" b="1">
                <a:solidFill>
                  <a:srgbClr val="98A6CC"/>
                </a:solidFill>
                <a:latin typeface="PT Sans Caption"/>
              </a:rPr>
              <a:t>2019 года</a:t>
            </a:r>
          </a:p>
        </p:txBody>
      </p:sp>
      <p:sp>
        <p:nvSpPr>
          <p:cNvPr id="77834" name="II этап"/>
          <p:cNvSpPr txBox="1">
            <a:spLocks noChangeArrowheads="1"/>
          </p:cNvSpPr>
          <p:nvPr/>
        </p:nvSpPr>
        <p:spPr bwMode="auto">
          <a:xfrm>
            <a:off x="3235325" y="2109788"/>
            <a:ext cx="2332038" cy="49212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5350"/>
            <a:r>
              <a:rPr lang="en-US" sz="1600" b="1">
                <a:solidFill>
                  <a:srgbClr val="98A6CC"/>
                </a:solidFill>
                <a:latin typeface="PT Sans Caption"/>
              </a:rPr>
              <a:t>1 </a:t>
            </a:r>
            <a:r>
              <a:rPr lang="ru-RU" sz="1600" b="1">
                <a:solidFill>
                  <a:srgbClr val="98A6CC"/>
                </a:solidFill>
                <a:latin typeface="PT Sans Caption"/>
              </a:rPr>
              <a:t>марта </a:t>
            </a:r>
          </a:p>
          <a:p>
            <a:pPr algn="ctr" defTabSz="895350"/>
            <a:r>
              <a:rPr lang="ru-RU" sz="1600" b="1">
                <a:solidFill>
                  <a:srgbClr val="98A6CC"/>
                </a:solidFill>
                <a:latin typeface="PT Sans Caption"/>
              </a:rPr>
              <a:t>2019 года</a:t>
            </a:r>
          </a:p>
        </p:txBody>
      </p:sp>
      <p:sp>
        <p:nvSpPr>
          <p:cNvPr id="77835" name="III этап"/>
          <p:cNvSpPr txBox="1">
            <a:spLocks noChangeArrowheads="1"/>
          </p:cNvSpPr>
          <p:nvPr/>
        </p:nvSpPr>
        <p:spPr bwMode="auto">
          <a:xfrm>
            <a:off x="6238875" y="2106613"/>
            <a:ext cx="2332038" cy="49212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5350"/>
            <a:r>
              <a:rPr lang="ru-RU" sz="1600" b="1">
                <a:solidFill>
                  <a:srgbClr val="98A6CC"/>
                </a:solidFill>
                <a:latin typeface="PT Sans Caption"/>
              </a:rPr>
              <a:t>1 июля </a:t>
            </a:r>
          </a:p>
          <a:p>
            <a:pPr algn="ctr" defTabSz="895350"/>
            <a:r>
              <a:rPr lang="ru-RU" sz="1600" b="1">
                <a:solidFill>
                  <a:srgbClr val="98A6CC"/>
                </a:solidFill>
                <a:latin typeface="PT Sans Caption"/>
              </a:rPr>
              <a:t>2019 года</a:t>
            </a:r>
          </a:p>
        </p:txBody>
      </p:sp>
      <p:sp>
        <p:nvSpPr>
          <p:cNvPr id="77836" name="IV этап"/>
          <p:cNvSpPr txBox="1">
            <a:spLocks noChangeArrowheads="1"/>
          </p:cNvSpPr>
          <p:nvPr/>
        </p:nvSpPr>
        <p:spPr bwMode="auto">
          <a:xfrm>
            <a:off x="9401175" y="2109788"/>
            <a:ext cx="2332038" cy="49212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defTabSz="895350"/>
            <a:r>
              <a:rPr lang="ru-RU" sz="1600" b="1">
                <a:solidFill>
                  <a:srgbClr val="98A6CC"/>
                </a:solidFill>
                <a:latin typeface="PT Sans Caption"/>
              </a:rPr>
              <a:t>1 июля </a:t>
            </a:r>
          </a:p>
          <a:p>
            <a:pPr algn="ctr" defTabSz="895350"/>
            <a:r>
              <a:rPr lang="ru-RU" sz="1600" b="1">
                <a:solidFill>
                  <a:srgbClr val="98A6CC"/>
                </a:solidFill>
                <a:latin typeface="PT Sans Caption"/>
              </a:rPr>
              <a:t>2020 года</a:t>
            </a:r>
          </a:p>
        </p:txBody>
      </p:sp>
      <p:sp>
        <p:nvSpPr>
          <p:cNvPr id="77837" name="Сигареты, папиросы (ТНВЭД 2402 20, ОКПД2 12.00.11.130,12.00.11.14)"/>
          <p:cNvSpPr txBox="1">
            <a:spLocks noChangeArrowheads="1"/>
          </p:cNvSpPr>
          <p:nvPr/>
        </p:nvSpPr>
        <p:spPr bwMode="auto">
          <a:xfrm>
            <a:off x="669925" y="1377950"/>
            <a:ext cx="10445750" cy="4746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marL="179388" indent="-179388" defTabSz="895350">
              <a:lnSpc>
                <a:spcPct val="90000"/>
              </a:lnSpc>
              <a:buSzPct val="100000"/>
              <a:buFontTx/>
              <a:buChar char="•"/>
            </a:pPr>
            <a:r>
              <a:rPr lang="ru-RU" sz="1400" b="1">
                <a:solidFill>
                  <a:srgbClr val="58595B"/>
                </a:solidFill>
                <a:latin typeface="PT Sans Caption"/>
              </a:rPr>
              <a:t>Сигареты, папиросы (ТНВЭД 2402 20, ОКПД2 12.00.11.130,12.00.11.14)</a:t>
            </a:r>
          </a:p>
        </p:txBody>
      </p:sp>
      <p:sp>
        <p:nvSpPr>
          <p:cNvPr id="77838" name="Другие виды продукции – эксперимент, внедрение маркировки."/>
          <p:cNvSpPr txBox="1">
            <a:spLocks noChangeArrowheads="1"/>
          </p:cNvSpPr>
          <p:nvPr/>
        </p:nvSpPr>
        <p:spPr bwMode="auto">
          <a:xfrm>
            <a:off x="876300" y="6156325"/>
            <a:ext cx="10031413" cy="4746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marL="179388" indent="-179388" defTabSz="895350">
              <a:lnSpc>
                <a:spcPct val="90000"/>
              </a:lnSpc>
              <a:buSzPct val="100000"/>
              <a:buFontTx/>
              <a:buChar char="•"/>
            </a:pPr>
            <a:r>
              <a:rPr lang="ru-RU" sz="1400" b="1">
                <a:solidFill>
                  <a:srgbClr val="58595B"/>
                </a:solidFill>
                <a:latin typeface="PT Sans Caption"/>
              </a:rPr>
              <a:t>Даты запуска предварительные. Точные даты будут определены в марте 2019 года после выпуска нормативных документов</a:t>
            </a:r>
          </a:p>
        </p:txBody>
      </p:sp>
      <p:sp>
        <p:nvSpPr>
          <p:cNvPr id="4" name="Заголовок 3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375" y="411163"/>
            <a:ext cx="10525125" cy="29845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sz="2160" b="1" dirty="0"/>
              <a:t>Порядок внедрения обязательной маркировки</a:t>
            </a:r>
          </a:p>
        </p:txBody>
      </p:sp>
      <p:sp>
        <p:nvSpPr>
          <p:cNvPr id="77840" name="Регистрация оптового оборота табачной продукции. Прекращение оборота не маркированной продукции."/>
          <p:cNvSpPr txBox="1">
            <a:spLocks noChangeArrowheads="1"/>
          </p:cNvSpPr>
          <p:nvPr/>
        </p:nvSpPr>
        <p:spPr bwMode="auto">
          <a:xfrm>
            <a:off x="195263" y="3087688"/>
            <a:ext cx="2632075" cy="985837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/>
            <a:r>
              <a:rPr lang="ru-RU" sz="1600" b="1">
                <a:solidFill>
                  <a:srgbClr val="58595B"/>
                </a:solidFill>
                <a:latin typeface="PT Sans Caption"/>
              </a:rPr>
              <a:t>Окончание пилотного проекта. </a:t>
            </a:r>
          </a:p>
          <a:p>
            <a:pPr defTabSz="895350"/>
            <a:r>
              <a:rPr lang="ru-RU" sz="1600">
                <a:solidFill>
                  <a:srgbClr val="58595B"/>
                </a:solidFill>
                <a:latin typeface="PT Sans Caption"/>
              </a:rPr>
              <a:t>Составление нормативной документации</a:t>
            </a:r>
          </a:p>
        </p:txBody>
      </p:sp>
      <p:sp>
        <p:nvSpPr>
          <p:cNvPr id="77841" name="Другие виды продукции – эксперимент, внедрение маркировки."/>
          <p:cNvSpPr txBox="1">
            <a:spLocks noChangeArrowheads="1"/>
          </p:cNvSpPr>
          <p:nvPr/>
        </p:nvSpPr>
        <p:spPr bwMode="auto">
          <a:xfrm>
            <a:off x="876300" y="5581650"/>
            <a:ext cx="10031413" cy="4746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 anchor="ctr"/>
          <a:lstStyle/>
          <a:p>
            <a:pPr marL="179388" indent="-179388" defTabSz="895350">
              <a:lnSpc>
                <a:spcPct val="90000"/>
              </a:lnSpc>
              <a:buSzPct val="100000"/>
              <a:buFontTx/>
              <a:buChar char="•"/>
            </a:pPr>
            <a:r>
              <a:rPr lang="ru-RU" sz="1400" b="1">
                <a:solidFill>
                  <a:srgbClr val="58595B"/>
                </a:solidFill>
                <a:latin typeface="PT Sans Caption"/>
              </a:rPr>
              <a:t>Другие виды продукции – эксперимент и последующее внедрение маркировки</a:t>
            </a:r>
          </a:p>
        </p:txBody>
      </p:sp>
      <p:sp>
        <p:nvSpPr>
          <p:cNvPr id="7" name="Стрелка: шеврон 6">
            <a:extLst>
              <a:ext uri="{FF2B5EF4-FFF2-40B4-BE49-F238E27FC236}"/>
            </a:extLst>
          </p:cNvPr>
          <p:cNvSpPr/>
          <p:nvPr/>
        </p:nvSpPr>
        <p:spPr>
          <a:xfrm>
            <a:off x="2717800" y="2143125"/>
            <a:ext cx="363538" cy="500063"/>
          </a:xfrm>
          <a:prstGeom prst="chevron">
            <a:avLst/>
          </a:prstGeom>
          <a:solidFill>
            <a:srgbClr val="FFFF00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7" name="Стрелка: шеврон 26">
            <a:extLst>
              <a:ext uri="{FF2B5EF4-FFF2-40B4-BE49-F238E27FC236}"/>
            </a:extLst>
          </p:cNvPr>
          <p:cNvSpPr/>
          <p:nvPr/>
        </p:nvSpPr>
        <p:spPr>
          <a:xfrm>
            <a:off x="5695950" y="2143125"/>
            <a:ext cx="363538" cy="500063"/>
          </a:xfrm>
          <a:prstGeom prst="chevron">
            <a:avLst/>
          </a:prstGeom>
          <a:solidFill>
            <a:srgbClr val="FFFF00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28" name="Стрелка: шеврон 27">
            <a:extLst>
              <a:ext uri="{FF2B5EF4-FFF2-40B4-BE49-F238E27FC236}"/>
            </a:extLst>
          </p:cNvPr>
          <p:cNvSpPr/>
          <p:nvPr/>
        </p:nvSpPr>
        <p:spPr>
          <a:xfrm>
            <a:off x="8878888" y="2143125"/>
            <a:ext cx="363537" cy="500063"/>
          </a:xfrm>
          <a:prstGeom prst="chevron">
            <a:avLst/>
          </a:prstGeom>
          <a:solidFill>
            <a:srgbClr val="FFFF00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703263" y="428625"/>
            <a:ext cx="10525125" cy="30003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Требования к производителям</a:t>
            </a:r>
            <a:endParaRPr lang="en-US" sz="2160" b="1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603507" y="1044655"/>
            <a:ext cx="11390243" cy="193899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На производства бесплатно устанавливаются </a:t>
            </a: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регистраторы эмиссии</a:t>
            </a:r>
          </a:p>
          <a:p>
            <a:pPr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Регистратор эмиссии осуществляет </a:t>
            </a: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крипто-шифрование каждого полученного кода</a:t>
            </a:r>
          </a:p>
          <a:p>
            <a:pPr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Благодаря крипто-защите код </a:t>
            </a: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невозможно подделать  </a:t>
            </a:r>
          </a:p>
          <a:p>
            <a:pPr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Код наносится на </a:t>
            </a: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каждую пачку сигарет и на каждый блок </a:t>
            </a:r>
          </a:p>
          <a:p>
            <a:pPr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При продаже сигарет</a:t>
            </a:r>
            <a:r>
              <a:rPr lang="ru-RU" sz="1600" b="1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производитель формирует УПД 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в котором указаны коды маркируемой продукции</a:t>
            </a:r>
          </a:p>
        </p:txBody>
      </p:sp>
      <p:pic>
        <p:nvPicPr>
          <p:cNvPr id="96259" name="Рисунок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95488" y="3770313"/>
            <a:ext cx="8201025" cy="308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6260" name="Прямоугольник 1"/>
          <p:cNvSpPr>
            <a:spLocks noChangeArrowheads="1"/>
          </p:cNvSpPr>
          <p:nvPr/>
        </p:nvSpPr>
        <p:spPr bwMode="auto">
          <a:xfrm>
            <a:off x="603250" y="3114675"/>
            <a:ext cx="115554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FF0000"/>
                </a:solidFill>
              </a:rPr>
              <a:t>Внимание! После 1 июля 2019 года прекращается производство сигарет без маркировки</a:t>
            </a:r>
            <a:endParaRPr lang="ru-RU" b="1">
              <a:solidFill>
                <a:srgbClr val="FF0000"/>
              </a:solidFill>
              <a:latin typeface="PT Sans Caption"/>
            </a:endParaRPr>
          </a:p>
        </p:txBody>
      </p:sp>
    </p:spTree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85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8852" name="think-cell Slide" r:id="rId4" imgW="360" imgH="360" progId="">
              <p:embed/>
            </p:oleObj>
          </a:graphicData>
        </a:graphic>
      </p:graphicFrame>
      <p:pic>
        <p:nvPicPr>
          <p:cNvPr id="78853" name="Picture 43"/>
          <p:cNvPicPr preferRelativeResize="0">
            <a:picLocks noChangeAspect="1" noChangeArrowheads="1"/>
          </p:cNvPicPr>
          <p:nvPr/>
        </p:nvPicPr>
        <p:blipFill>
          <a:blip r:embed="rId5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630238" y="423863"/>
            <a:ext cx="10523537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Ускорение процесса продажи</a:t>
            </a:r>
            <a:endParaRPr lang="en-US" sz="2160" b="1" dirty="0"/>
          </a:p>
        </p:txBody>
      </p:sp>
      <p:sp>
        <p:nvSpPr>
          <p:cNvPr id="7" name="Прямоугольник 6">
            <a:extLst>
              <a:ext uri="{FF2B5EF4-FFF2-40B4-BE49-F238E27FC236}"/>
            </a:extLst>
          </p:cNvPr>
          <p:cNvSpPr/>
          <p:nvPr/>
        </p:nvSpPr>
        <p:spPr>
          <a:xfrm>
            <a:off x="330200" y="1701800"/>
            <a:ext cx="8731250" cy="461645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n-lt"/>
                <a:cs typeface="+mn-cs"/>
              </a:rPr>
              <a:t>Структура кода маркировки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+mn-lt"/>
                <a:cs typeface="+mn-cs"/>
              </a:rPr>
              <a:t>Пачка сигарет: </a:t>
            </a:r>
            <a:endParaRPr lang="en-US" b="1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600" dirty="0">
                <a:latin typeface="+mn-lt"/>
                <a:cs typeface="+mn-cs"/>
              </a:rPr>
              <a:t>первая группа состоит из 14 цифр и содержит код товара (</a:t>
            </a:r>
            <a:r>
              <a:rPr lang="en-US" sz="1600" dirty="0">
                <a:latin typeface="+mn-lt"/>
                <a:cs typeface="+mn-cs"/>
              </a:rPr>
              <a:t>GTIN)</a:t>
            </a:r>
            <a:r>
              <a:rPr lang="ru-RU" sz="1600" dirty="0">
                <a:latin typeface="+mn-lt"/>
                <a:cs typeface="+mn-cs"/>
              </a:rPr>
              <a:t>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600" dirty="0">
                <a:latin typeface="+mn-lt"/>
                <a:cs typeface="+mn-cs"/>
              </a:rPr>
              <a:t>вторая группа состоит из 7 символов (цифр, строчных и прописных букв латинского алфавита, а также специальных символов) и содержит индивидуальный серийный номер упаковки табачной продукции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600" dirty="0">
                <a:latin typeface="+mn-lt"/>
                <a:cs typeface="+mn-cs"/>
              </a:rPr>
              <a:t>третья группа цифр состоит из 4 символов (цифр, строчных и прописных букв латинского алфавита, а также специальных символов) и содержит в перекодированном виде максимальную розничную цену потребительской упаковки с точностью до одной копейки;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600">
                <a:latin typeface="+mn-lt"/>
                <a:cs typeface="+mn-cs"/>
              </a:rPr>
              <a:t>четвертая </a:t>
            </a:r>
            <a:r>
              <a:rPr lang="ru-RU" sz="1600" dirty="0">
                <a:latin typeface="+mn-lt"/>
                <a:cs typeface="+mn-cs"/>
              </a:rPr>
              <a:t>группа состоит из 4 символов (цифр, строчных и прописных букв латинского алфавита, а также специальных символов) и содержит код проверки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sz="1400" dirty="0">
              <a:latin typeface="+mn-lt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+mn-lt"/>
                <a:cs typeface="+mn-cs"/>
              </a:rPr>
              <a:t>Присутствие в коде маркировки максимальной розничной цены ускорит продажу и избавит от ошибок</a:t>
            </a:r>
          </a:p>
        </p:txBody>
      </p:sp>
      <p:pic>
        <p:nvPicPr>
          <p:cNvPr id="8" name="Picture 14">
            <a:extLst>
              <a:ext uri="{FF2B5EF4-FFF2-40B4-BE49-F238E27FC236}"/>
            </a:extLst>
          </p:cNvPr>
          <p:cNvPicPr>
            <a:picLocks noChangeAspect="1"/>
          </p:cNvPicPr>
          <p:nvPr/>
        </p:nvPicPr>
        <p:blipFill rotWithShape="1">
          <a:blip r:embed="rId6"/>
          <a:srcRect l="28520" r="30616"/>
          <a:stretch/>
        </p:blipFill>
        <p:spPr>
          <a:xfrm>
            <a:off x="9474001" y="2495169"/>
            <a:ext cx="2387737" cy="2387737"/>
          </a:xfrm>
          <a:prstGeom prst="ellipse">
            <a:avLst/>
          </a:prstGeom>
          <a:grpFill/>
          <a:ln w="19050">
            <a:gradFill flip="none" rotWithShape="1">
              <a:gsLst>
                <a:gs pos="35000">
                  <a:srgbClr val="595959"/>
                </a:gs>
                <a:gs pos="100000">
                  <a:srgbClr val="F6F42E"/>
                </a:gs>
              </a:gsLst>
              <a:lin ang="2700000" scaled="1"/>
              <a:tileRect/>
            </a:gradFill>
          </a:ln>
        </p:spPr>
      </p:pic>
    </p:spTree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703263" y="428625"/>
            <a:ext cx="10525125" cy="30003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Агрегация транспортной тары</a:t>
            </a:r>
            <a:endParaRPr lang="en-US" sz="2160" b="1" dirty="0"/>
          </a:p>
        </p:txBody>
      </p:sp>
      <p:pic>
        <p:nvPicPr>
          <p:cNvPr id="98306" name="Рисунок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0850" y="1525588"/>
            <a:ext cx="4286250" cy="486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>
            <a:extLst>
              <a:ext uri="{FF2B5EF4-FFF2-40B4-BE49-F238E27FC236}"/>
            </a:extLst>
          </p:cNvPr>
          <p:cNvSpPr txBox="1"/>
          <p:nvPr/>
        </p:nvSpPr>
        <p:spPr>
          <a:xfrm>
            <a:off x="4880114" y="1732960"/>
            <a:ext cx="7004982" cy="424731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212121">
                  <a:lumOff val="21764"/>
                </a:srgbClr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Для удобства существует возможность агрегации пачек в блоки, блоков в короба, а коробов в паллеты.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На пачку и блок наносится </a:t>
            </a: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код </a:t>
            </a:r>
            <a:r>
              <a:rPr lang="en-US" b="1" dirty="0" err="1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DataMatrix</a:t>
            </a: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.</a:t>
            </a:r>
            <a:endParaRPr lang="ru-RU" dirty="0">
              <a:solidFill>
                <a:srgbClr val="212121">
                  <a:lumOff val="21764"/>
                </a:srgbClr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На короб и паллет 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наносится линейный </a:t>
            </a: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код формата </a:t>
            </a:r>
            <a:r>
              <a:rPr lang="en-US" b="1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GS1 128</a:t>
            </a:r>
            <a:r>
              <a:rPr lang="ru-RU" b="1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. </a:t>
            </a: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Нанесение такого кода необязательно, но значительно упрощает приемку и отгрузку товара.</a:t>
            </a:r>
            <a:endParaRPr lang="ru-RU" b="1" dirty="0">
              <a:solidFill>
                <a:srgbClr val="212121">
                  <a:lumOff val="21764"/>
                </a:srgbClr>
              </a:solidFill>
              <a:latin typeface="+mn-lt"/>
              <a:ea typeface="PT Sans Caption"/>
              <a:cs typeface="PT Sans Caption"/>
              <a:sym typeface="PT Sans Caption"/>
            </a:endParaRP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В системе содержаться данные об агрегированных упаковках и той продукции, которая в них вложена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dirty="0">
              <a:solidFill>
                <a:srgbClr val="212121">
                  <a:lumOff val="21764"/>
                </a:srgbClr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</p:spTree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569913" y="323850"/>
            <a:ext cx="10525125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Требования к организациям оптовой торговли</a:t>
            </a:r>
            <a:endParaRPr lang="en-US" sz="2160" b="1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5097228" y="597456"/>
            <a:ext cx="6707164" cy="566308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marL="285750" indent="-285750" defTabSz="1193566" fontAlgn="auto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600" dirty="0">
              <a:solidFill>
                <a:srgbClr val="212121">
                  <a:lumOff val="21764"/>
                </a:srgbClr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Компания оптовой торговли получает электронную накладную от производителя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Необходимо сверить коды упаковок или агрегации в накладной с теми, которые пришли по факту при помощи 2</a:t>
            </a:r>
            <a:r>
              <a:rPr lang="en-US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D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сканера штрих-кода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Если фактичекские коды и указанные в электронной накладной сходятся, то 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необходимо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принять накладную. Если нет, внести корректировки или полностью отказаться от накладной 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Срок подачи сведений, составляет 3 рабочих дня с даты приемки табачной продукции, но не позднее даты передачи этой табачной продукции третьим лицам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600" dirty="0">
              <a:solidFill>
                <a:srgbClr val="212121">
                  <a:lumOff val="21764"/>
                </a:srgbClr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pic>
        <p:nvPicPr>
          <p:cNvPr id="99331" name="Рисунок 2"/>
          <p:cNvPicPr>
            <a:picLocks noChangeAspect="1"/>
          </p:cNvPicPr>
          <p:nvPr/>
        </p:nvPicPr>
        <p:blipFill>
          <a:blip r:embed="rId2"/>
          <a:srcRect r="10197"/>
          <a:stretch>
            <a:fillRect/>
          </a:stretch>
        </p:blipFill>
        <p:spPr bwMode="auto">
          <a:xfrm>
            <a:off x="481013" y="1296988"/>
            <a:ext cx="3952875" cy="249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99332" name="Рисунок 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1013" y="4041775"/>
            <a:ext cx="3952875" cy="24923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99333" name="Прямоугольник 3"/>
          <p:cNvSpPr>
            <a:spLocks noChangeArrowheads="1"/>
          </p:cNvSpPr>
          <p:nvPr/>
        </p:nvSpPr>
        <p:spPr bwMode="auto">
          <a:xfrm>
            <a:off x="5313363" y="5683250"/>
            <a:ext cx="7037387" cy="1154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895350">
              <a:lnSpc>
                <a:spcPct val="150000"/>
              </a:lnSpc>
            </a:pPr>
            <a:r>
              <a:rPr lang="ru-RU" sz="1600" b="1">
                <a:solidFill>
                  <a:srgbClr val="FF0000"/>
                </a:solidFill>
                <a:latin typeface="PT Sans Caption"/>
              </a:rPr>
              <a:t>Внимание! С 1 июля  2020 года</a:t>
            </a:r>
          </a:p>
          <a:p>
            <a:pPr defTabSz="895350">
              <a:lnSpc>
                <a:spcPct val="150000"/>
              </a:lnSpc>
            </a:pPr>
            <a:r>
              <a:rPr lang="ru-RU" sz="1600" b="1">
                <a:solidFill>
                  <a:srgbClr val="FF0000"/>
                </a:solidFill>
                <a:latin typeface="PT Sans Caption"/>
              </a:rPr>
              <a:t>Обязательная регистрация оптового оборота сигарет</a:t>
            </a:r>
          </a:p>
          <a:p>
            <a:pPr defTabSz="895350">
              <a:lnSpc>
                <a:spcPct val="150000"/>
              </a:lnSpc>
            </a:pPr>
            <a:r>
              <a:rPr lang="ru-RU" sz="1600" b="1">
                <a:solidFill>
                  <a:srgbClr val="FF0000"/>
                </a:solidFill>
                <a:latin typeface="PT Sans Caption"/>
              </a:rPr>
              <a:t>Прекращение оборота не маркированной продукции </a:t>
            </a:r>
          </a:p>
        </p:txBody>
      </p:sp>
    </p:spTree>
  </p:cSld>
  <p:clrMapOvr>
    <a:masterClrMapping/>
  </p:clrMapOvr>
  <p:transition spd="med"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/>
            </a:extLst>
          </p:cNvPr>
          <p:cNvSpPr txBox="1"/>
          <p:nvPr/>
        </p:nvSpPr>
        <p:spPr>
          <a:xfrm>
            <a:off x="4231597" y="1107615"/>
            <a:ext cx="7960403" cy="614527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marL="285750" indent="-285750" defTabSz="1193566" fontAlgn="auto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Согласно № 54-ФЗ для торговли подакцизными товарами необходимо использовать онлайн-кассу с возможностью расшифровки номенклатуры 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500" dirty="0" err="1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DataMatrix</a:t>
            </a:r>
            <a:r>
              <a:rPr lang="en-US" sz="1500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 </a:t>
            </a: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код каждой пачки или блока сканируется при продаже. Сканер штрих-кода для ЕГАИС подойдет для работы с маркировкой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ПО кассовой техники должно формировать и отправлять в ОФД электронный кассовый чек с указанием кода маркировки товара 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ОФД передает электронный кассовый чек с указанием кода маркировки товара в систему Честный ЗНАК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+mn-lt"/>
                <a:ea typeface="PT Sans Caption"/>
                <a:cs typeface="PT Sans Caption"/>
                <a:sym typeface="PT Sans Caption"/>
              </a:rPr>
              <a:t>Переход от бумажного документооборота на электронную накладную в форме УПД (универсальный передаточный документ) с 1 июля 2020 года</a:t>
            </a:r>
          </a:p>
          <a:p>
            <a:pPr marL="285750" indent="-285750" defTabSz="1193566" fontAlgn="auto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500" dirty="0">
                <a:latin typeface="+mn-lt"/>
                <a:cs typeface="+mn-cs"/>
              </a:rPr>
              <a:t>Предпринимателям, которые используют кассы без передачи данных в ОФД, будет необходимо 1 раз в месяц вносить данные о кодах проданных пачек в личный кабинет системы "Честный ЗНАК"</a:t>
            </a:r>
            <a:endParaRPr lang="ru-RU" sz="1500" dirty="0">
              <a:solidFill>
                <a:srgbClr val="212121">
                  <a:lumOff val="21764"/>
                </a:srgbClr>
              </a:solidFill>
              <a:latin typeface="+mn-lt"/>
              <a:ea typeface="PT Sans Caption"/>
              <a:cs typeface="PT Sans Caption"/>
              <a:sym typeface="PT Sans Caption"/>
            </a:endParaRPr>
          </a:p>
          <a:p>
            <a:pPr defTabSz="1193566" fontAlgn="auto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srgbClr val="FF0000"/>
                </a:solidFill>
                <a:latin typeface="+mn-lt"/>
                <a:cs typeface="+mn-cs"/>
                <a:sym typeface="PT Sans Caption"/>
              </a:rPr>
              <a:t>С 1 июля 2019 года –  З</a:t>
            </a:r>
            <a:r>
              <a:rPr lang="ru-RU" sz="1500" b="1" dirty="0">
                <a:solidFill>
                  <a:srgbClr val="FF0000"/>
                </a:solidFill>
                <a:latin typeface="+mn-lt"/>
                <a:cs typeface="+mn-cs"/>
              </a:rPr>
              <a:t>апрещается розничная продажа маркированных сигарет без передачи сведений в систему Честный ЗНАК </a:t>
            </a:r>
            <a:endParaRPr lang="ru-RU" sz="1500" b="1" dirty="0">
              <a:solidFill>
                <a:srgbClr val="FF0000"/>
              </a:solidFill>
              <a:latin typeface="+mn-lt"/>
              <a:cs typeface="+mn-cs"/>
              <a:sym typeface="PT Sans Caption"/>
            </a:endParaRPr>
          </a:p>
          <a:p>
            <a:pPr defTabSz="1193566" fontAlgn="auto" hangingPunct="0">
              <a:lnSpc>
                <a:spcPct val="150000"/>
              </a:lnSpc>
              <a:spcBef>
                <a:spcPts val="500"/>
              </a:spcBef>
              <a:spcAft>
                <a:spcPts val="0"/>
              </a:spcAft>
              <a:defRPr/>
            </a:pPr>
            <a:endParaRPr lang="ru-RU" sz="1500" dirty="0">
              <a:solidFill>
                <a:srgbClr val="212121">
                  <a:lumOff val="21764"/>
                </a:srgbClr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sp>
        <p:nvSpPr>
          <p:cNvPr id="15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833438" y="401638"/>
            <a:ext cx="10525125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Требования к организации розничной торговли</a:t>
            </a:r>
            <a:endParaRPr lang="en-US" sz="2160" b="1" dirty="0"/>
          </a:p>
        </p:txBody>
      </p:sp>
      <p:pic>
        <p:nvPicPr>
          <p:cNvPr id="100355" name="Рисунок 1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9438" y="1485900"/>
            <a:ext cx="3576637" cy="22320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00356" name="Рисунок 1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9438" y="4179888"/>
            <a:ext cx="3576637" cy="21526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900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0900" name="think-cell Slide" r:id="rId4" imgW="360" imgH="360" progId="">
              <p:embed/>
            </p:oleObj>
          </a:graphicData>
        </a:graphic>
      </p:graphicFrame>
      <p:pic>
        <p:nvPicPr>
          <p:cNvPr id="80901" name="Picture 43"/>
          <p:cNvPicPr preferRelativeResize="0">
            <a:picLocks noChangeAspect="1" noChangeArrowheads="1"/>
          </p:cNvPicPr>
          <p:nvPr/>
        </p:nvPicPr>
        <p:blipFill>
          <a:blip r:embed="rId5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739775" y="357188"/>
            <a:ext cx="10523538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Что необходимо для подключения к маркировке</a:t>
            </a:r>
            <a:endParaRPr lang="en-US" sz="2160" b="1" dirty="0"/>
          </a:p>
        </p:txBody>
      </p:sp>
      <p:sp>
        <p:nvSpPr>
          <p:cNvPr id="80903" name="TextBox 11"/>
          <p:cNvSpPr txBox="1">
            <a:spLocks/>
          </p:cNvSpPr>
          <p:nvPr/>
        </p:nvSpPr>
        <p:spPr bwMode="auto">
          <a:xfrm>
            <a:off x="11514138" y="6142038"/>
            <a:ext cx="119062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latin typeface="PT Sans Caption"/>
            </a:endParaRPr>
          </a:p>
        </p:txBody>
      </p:sp>
      <p:pic>
        <p:nvPicPr>
          <p:cNvPr id="80904" name="галочка.png" descr="галочка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17600" y="1730375"/>
            <a:ext cx="373063" cy="3730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80905" name="галочка.png" descr="галочка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33475" y="2489200"/>
            <a:ext cx="373063" cy="3730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80906" name="галочка.png" descr="галочка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33475" y="3259138"/>
            <a:ext cx="373063" cy="37306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80907" name="галочка.png" descr="галочка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17600" y="4792663"/>
            <a:ext cx="373063" cy="37306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80908" name="галочка.png" descr="галочка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33475" y="5561013"/>
            <a:ext cx="373063" cy="37306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sp>
        <p:nvSpPr>
          <p:cNvPr id="12" name="TextBox 11">
            <a:extLst>
              <a:ext uri="{FF2B5EF4-FFF2-40B4-BE49-F238E27FC236}"/>
            </a:extLst>
          </p:cNvPr>
          <p:cNvSpPr txBox="1"/>
          <p:nvPr/>
        </p:nvSpPr>
        <p:spPr>
          <a:xfrm>
            <a:off x="1602657" y="1707945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Зарегистрироваться на сайте </a:t>
            </a:r>
            <a:r>
              <a:rPr lang="en-US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  <a:hlinkClick r:id="rId7"/>
              </a:rPr>
              <a:t>https://</a:t>
            </a:r>
            <a:r>
              <a:rPr lang="ru-RU" sz="2300" dirty="0" err="1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  <a:hlinkClick r:id="rId7"/>
              </a:rPr>
              <a:t>честныйзнак.рф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  <a:hlinkClick r:id="rId7"/>
              </a:rPr>
              <a:t>/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</a:t>
            </a:r>
          </a:p>
        </p:txBody>
      </p:sp>
      <p:sp>
        <p:nvSpPr>
          <p:cNvPr id="13" name="TextBox 12">
            <a:extLst>
              <a:ext uri="{FF2B5EF4-FFF2-40B4-BE49-F238E27FC236}"/>
            </a:extLst>
          </p:cNvPr>
          <p:cNvSpPr txBox="1"/>
          <p:nvPr/>
        </p:nvSpPr>
        <p:spPr>
          <a:xfrm>
            <a:off x="1602656" y="2323056"/>
            <a:ext cx="8190271" cy="8002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Заполнить данные в личном кабинете. </a:t>
            </a:r>
          </a:p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Необходима электронная подпись</a:t>
            </a: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1676399" y="3224158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Обновить прошивку онлайн-кассы</a:t>
            </a:r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1676399" y="4790690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Приобрести 2</a:t>
            </a:r>
            <a:r>
              <a:rPr lang="en-US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D 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сканер штрихкода, если у вас его нет</a:t>
            </a:r>
          </a:p>
        </p:txBody>
      </p:sp>
      <p:sp>
        <p:nvSpPr>
          <p:cNvPr id="16" name="TextBox 15">
            <a:extLst>
              <a:ext uri="{FF2B5EF4-FFF2-40B4-BE49-F238E27FC236}"/>
            </a:extLst>
          </p:cNvPr>
          <p:cNvSpPr txBox="1"/>
          <p:nvPr/>
        </p:nvSpPr>
        <p:spPr>
          <a:xfrm>
            <a:off x="1676399" y="5384015"/>
            <a:ext cx="8190271" cy="8002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Настроить систему электронного документооборота до 1 июля 2020 года</a:t>
            </a:r>
          </a:p>
        </p:txBody>
      </p:sp>
      <p:pic>
        <p:nvPicPr>
          <p:cNvPr id="80914" name="галочка.png" descr="галочка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133475" y="4027488"/>
            <a:ext cx="373063" cy="37306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sp>
        <p:nvSpPr>
          <p:cNvPr id="18" name="TextBox 17">
            <a:extLst>
              <a:ext uri="{FF2B5EF4-FFF2-40B4-BE49-F238E27FC236}"/>
            </a:extLst>
          </p:cNvPr>
          <p:cNvSpPr txBox="1"/>
          <p:nvPr/>
        </p:nvSpPr>
        <p:spPr>
          <a:xfrm>
            <a:off x="1676398" y="3982495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Обновить </a:t>
            </a:r>
            <a:r>
              <a:rPr lang="ru-RU" sz="2300" dirty="0" err="1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товароучетную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программу</a:t>
            </a:r>
          </a:p>
        </p:txBody>
      </p:sp>
    </p:spTree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24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1924" name="think-cell Slide" r:id="rId4" imgW="360" imgH="360" progId="">
              <p:embed/>
            </p:oleObj>
          </a:graphicData>
        </a:graphic>
      </p:graphicFrame>
      <p:pic>
        <p:nvPicPr>
          <p:cNvPr id="81925" name="Picture 43"/>
          <p:cNvPicPr preferRelativeResize="0">
            <a:picLocks noChangeAspect="1" noChangeArrowheads="1"/>
          </p:cNvPicPr>
          <p:nvPr/>
        </p:nvPicPr>
        <p:blipFill>
          <a:blip r:embed="rId5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739775" y="357188"/>
            <a:ext cx="10523538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Стоимость перехода </a:t>
            </a:r>
            <a:endParaRPr lang="en-US" sz="2160" b="1" dirty="0"/>
          </a:p>
        </p:txBody>
      </p:sp>
      <p:sp>
        <p:nvSpPr>
          <p:cNvPr id="81927" name="TextBox 11"/>
          <p:cNvSpPr txBox="1">
            <a:spLocks/>
          </p:cNvSpPr>
          <p:nvPr/>
        </p:nvSpPr>
        <p:spPr bwMode="auto">
          <a:xfrm>
            <a:off x="11514138" y="6142038"/>
            <a:ext cx="119062" cy="141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latin typeface="PT Sans Caption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1578075" y="1972046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Обновление прошивки кассы – от 0 до 2 000 руб.  </a:t>
            </a:r>
          </a:p>
        </p:txBody>
      </p:sp>
      <p:sp>
        <p:nvSpPr>
          <p:cNvPr id="19" name="TextBox 18">
            <a:extLst>
              <a:ext uri="{FF2B5EF4-FFF2-40B4-BE49-F238E27FC236}"/>
            </a:extLst>
          </p:cNvPr>
          <p:cNvSpPr txBox="1"/>
          <p:nvPr/>
        </p:nvSpPr>
        <p:spPr>
          <a:xfrm>
            <a:off x="1578076" y="2900136"/>
            <a:ext cx="8190271" cy="44627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2</a:t>
            </a:r>
            <a:r>
              <a:rPr lang="en-US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D 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сканер штрихкода – от </a:t>
            </a:r>
            <a:r>
              <a:rPr lang="en-US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3 800 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руб. </a:t>
            </a:r>
          </a:p>
        </p:txBody>
      </p:sp>
      <p:sp>
        <p:nvSpPr>
          <p:cNvPr id="20" name="TextBox 19">
            <a:extLst>
              <a:ext uri="{FF2B5EF4-FFF2-40B4-BE49-F238E27FC236}"/>
            </a:extLst>
          </p:cNvPr>
          <p:cNvSpPr txBox="1"/>
          <p:nvPr/>
        </p:nvSpPr>
        <p:spPr>
          <a:xfrm>
            <a:off x="1578076" y="3734727"/>
            <a:ext cx="8190271" cy="80021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lIns="45719" tIns="45719" rIns="45719" bIns="45719" spcCol="38100" anchor="ctr">
            <a:spAutoFit/>
          </a:bodyPr>
          <a:lstStyle/>
          <a:p>
            <a:pPr defTabSz="1193566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Обновление </a:t>
            </a:r>
            <a:r>
              <a:rPr lang="ru-RU" sz="2300" dirty="0" err="1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товароучетной</a:t>
            </a:r>
            <a:r>
              <a:rPr lang="ru-RU" sz="2300" dirty="0">
                <a:solidFill>
                  <a:schemeClr val="accent2">
                    <a:lumOff val="21764"/>
                  </a:schemeClr>
                </a:solidFill>
                <a:latin typeface="PT Sans Caption"/>
                <a:ea typeface="PT Sans Caption"/>
                <a:cs typeface="PT Sans Caption"/>
                <a:sym typeface="PT Sans Caption"/>
              </a:rPr>
              <a:t> программы – в рамках текущих подписок на обновления</a:t>
            </a:r>
          </a:p>
        </p:txBody>
      </p:sp>
    </p:spTree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588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3" y="1588"/>
          <a:ext cx="1587" cy="1587"/>
        </p:xfrm>
        <a:graphic>
          <a:graphicData uri="http://schemas.openxmlformats.org/presentationml/2006/ole">
            <p:oleObj spid="_x0000_s67588" name="think-cell Slide" r:id="rId5" imgW="360" imgH="360" progId="">
              <p:embed/>
            </p:oleObj>
          </a:graphicData>
        </a:graphic>
      </p:graphicFrame>
      <p:sp>
        <p:nvSpPr>
          <p:cNvPr id="4" name="Прямоугольник 3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75" y="0"/>
            <a:ext cx="161925" cy="161925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ru-RU" sz="2400" dirty="0">
              <a:solidFill>
                <a:srgbClr val="FFFFFF"/>
              </a:solidFill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371475"/>
            <a:ext cx="10523537" cy="331788"/>
          </a:xfrm>
        </p:spPr>
        <p:txBody>
          <a:bodyPr rtlCol="0"/>
          <a:lstStyle/>
          <a:p>
            <a:pPr defTabSz="839852" fontAlgn="auto">
              <a:spcAft>
                <a:spcPts val="0"/>
              </a:spcAft>
              <a:defRPr/>
            </a:pPr>
            <a:r>
              <a:rPr lang="ru-RU" sz="2162" b="1" dirty="0">
                <a:latin typeface="PT Sans Caption"/>
              </a:rPr>
              <a:t>Предпосылки</a:t>
            </a:r>
            <a:endParaRPr lang="en-US" sz="2162" b="1" dirty="0">
              <a:latin typeface="PT Sans Caption"/>
            </a:endParaRPr>
          </a:p>
        </p:txBody>
      </p:sp>
      <p:sp>
        <p:nvSpPr>
          <p:cNvPr id="7" name="Прямоугольник 6">
            <a:extLst>
              <a:ext uri="{FF2B5EF4-FFF2-40B4-BE49-F238E27FC236}"/>
            </a:extLst>
          </p:cNvPr>
          <p:cNvSpPr/>
          <p:nvPr/>
        </p:nvSpPr>
        <p:spPr>
          <a:xfrm>
            <a:off x="747713" y="6232525"/>
            <a:ext cx="10534650" cy="42862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341" tIns="46671" rIns="93341" bIns="46671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25" dirty="0">
                <a:solidFill>
                  <a:srgbClr val="575757"/>
                </a:solidFill>
              </a:rPr>
              <a:t>Источники: </a:t>
            </a:r>
            <a:r>
              <a:rPr lang="en-US" sz="1225" dirty="0">
                <a:solidFill>
                  <a:srgbClr val="575757"/>
                </a:solidFill>
              </a:rPr>
              <a:t>Kantar TNS, </a:t>
            </a:r>
            <a:r>
              <a:rPr lang="ru-RU" sz="1225" dirty="0">
                <a:solidFill>
                  <a:srgbClr val="575757"/>
                </a:solidFill>
              </a:rPr>
              <a:t>НИУ ВШЭ, </a:t>
            </a:r>
            <a:r>
              <a:rPr lang="en-US" sz="1225" dirty="0">
                <a:solidFill>
                  <a:srgbClr val="575757"/>
                </a:solidFill>
              </a:rPr>
              <a:t>Forbes, </a:t>
            </a:r>
            <a:r>
              <a:rPr lang="ru-RU" sz="1225" dirty="0">
                <a:solidFill>
                  <a:srgbClr val="575757"/>
                </a:solidFill>
              </a:rPr>
              <a:t>Коммерсант</a:t>
            </a:r>
            <a:endParaRPr lang="en-US" sz="1225" dirty="0">
              <a:solidFill>
                <a:srgbClr val="575757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747713" y="1614488"/>
            <a:ext cx="4813300" cy="5492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341" tIns="46671" rIns="93341" bIns="46671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42" b="1">
                <a:solidFill>
                  <a:srgbClr val="575757"/>
                </a:solidFill>
              </a:rPr>
              <a:t>Доля незаконного оборота продукции</a:t>
            </a:r>
            <a:endParaRPr lang="en-US" sz="2042" dirty="0">
              <a:solidFill>
                <a:srgbClr val="575757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/>
            </a:extLst>
          </p:cNvPr>
          <p:cNvSpPr/>
          <p:nvPr/>
        </p:nvSpPr>
        <p:spPr>
          <a:xfrm>
            <a:off x="5930900" y="1631950"/>
            <a:ext cx="4975225" cy="5492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341" tIns="46671" rIns="93341" bIns="46671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42" b="1" dirty="0">
                <a:solidFill>
                  <a:srgbClr val="575757"/>
                </a:solidFill>
              </a:rPr>
              <a:t>Внедрение систе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42" b="1" dirty="0">
                <a:solidFill>
                  <a:srgbClr val="575757"/>
                </a:solidFill>
              </a:rPr>
              <a:t>прослеживания</a:t>
            </a:r>
            <a:endParaRPr lang="en-US" sz="2042" dirty="0">
              <a:solidFill>
                <a:srgbClr val="575757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/>
            </a:extLst>
          </p:cNvPr>
          <p:cNvSpPr/>
          <p:nvPr/>
        </p:nvSpPr>
        <p:spPr>
          <a:xfrm>
            <a:off x="6942138" y="2366963"/>
            <a:ext cx="4900612" cy="391795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1225"/>
              </a:spcAft>
              <a:defRPr/>
            </a:pPr>
            <a:r>
              <a:rPr lang="ru-RU" sz="1633" dirty="0">
                <a:solidFill>
                  <a:srgbClr val="58595B"/>
                </a:solidFill>
                <a:latin typeface="PT Sans Caption"/>
                <a:cs typeface="+mn-cs"/>
              </a:rPr>
              <a:t>Для борьбы с незаконным оборотом продукции во всем мире запускаются системы прослеживания товаров: США (лекарства), ЕС (лекарства, табачная продукция (отдельные страны), Турция, Аргентина и Бразилия (лекарства, табачная продукция, напитки), и др.</a:t>
            </a:r>
          </a:p>
          <a:p>
            <a:pPr fontAlgn="auto">
              <a:spcBef>
                <a:spcPts val="0"/>
              </a:spcBef>
              <a:spcAft>
                <a:spcPts val="1225"/>
              </a:spcAft>
              <a:defRPr/>
            </a:pPr>
            <a:r>
              <a:rPr lang="ru-RU" sz="1633" dirty="0">
                <a:solidFill>
                  <a:srgbClr val="58595B"/>
                </a:solidFill>
                <a:latin typeface="PT Sans Caption"/>
                <a:cs typeface="+mn-cs"/>
              </a:rPr>
              <a:t>В декабре 2017 г. Президент РФ Владимир Путин одобрил создание Единой системы сплошной маркировки и прослеживаемости товаров</a:t>
            </a:r>
          </a:p>
          <a:p>
            <a:pPr fontAlgn="auto">
              <a:spcBef>
                <a:spcPts val="0"/>
              </a:spcBef>
              <a:spcAft>
                <a:spcPts val="1225"/>
              </a:spcAft>
              <a:defRPr/>
            </a:pPr>
            <a:r>
              <a:rPr lang="ru-RU" sz="1633" dirty="0">
                <a:solidFill>
                  <a:srgbClr val="58595B"/>
                </a:solidFill>
                <a:latin typeface="PT Sans Caption"/>
                <a:cs typeface="+mn-cs"/>
              </a:rPr>
              <a:t>24 апреля Правительство РФ утвердило модель функционирование системы и перечень из 10 товарных групп, подлежащих обязательной маркировке</a:t>
            </a:r>
            <a:endParaRPr lang="en-US" sz="1633" dirty="0">
              <a:latin typeface="PT Sans Caption"/>
              <a:cs typeface="+mn-cs"/>
            </a:endParaRPr>
          </a:p>
        </p:txBody>
      </p:sp>
      <p:sp>
        <p:nvSpPr>
          <p:cNvPr id="11" name="Равнобедренный треугольник 10">
            <a:extLst>
              <a:ext uri="{FF2B5EF4-FFF2-40B4-BE49-F238E27FC236}"/>
            </a:extLst>
          </p:cNvPr>
          <p:cNvSpPr/>
          <p:nvPr/>
        </p:nvSpPr>
        <p:spPr>
          <a:xfrm rot="5400000">
            <a:off x="3502025" y="3841751"/>
            <a:ext cx="4117975" cy="292100"/>
          </a:xfrm>
          <a:prstGeom prst="triangle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341" tIns="46671" rIns="93341" bIns="4667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25" dirty="0">
              <a:solidFill>
                <a:srgbClr val="FFFFFF"/>
              </a:solidFill>
            </a:endParaRPr>
          </a:p>
        </p:txBody>
      </p:sp>
      <p:pic>
        <p:nvPicPr>
          <p:cNvPr id="67596" name="Рисунок 12" descr="Мир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930900" y="2603500"/>
            <a:ext cx="93345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597" name="Grafik 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007100" y="4322763"/>
            <a:ext cx="777875" cy="519112"/>
          </a:xfrm>
          <a:prstGeom prst="rect">
            <a:avLst/>
          </a:prstGeom>
          <a:noFill/>
          <a:ln w="25400">
            <a:solidFill>
              <a:srgbClr val="6E6F73"/>
            </a:solidFill>
            <a:miter lim="800000"/>
            <a:headEnd/>
            <a:tailEnd/>
          </a:ln>
        </p:spPr>
      </p:pic>
      <p:pic>
        <p:nvPicPr>
          <p:cNvPr id="67598" name="Grafik 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008688" y="5527675"/>
            <a:ext cx="777875" cy="519113"/>
          </a:xfrm>
          <a:prstGeom prst="rect">
            <a:avLst/>
          </a:prstGeom>
          <a:noFill/>
          <a:ln w="25400">
            <a:solidFill>
              <a:srgbClr val="6E6F73"/>
            </a:solidFill>
            <a:miter lim="800000"/>
            <a:headEnd/>
            <a:tailEnd/>
          </a:ln>
        </p:spPr>
      </p:pic>
      <p:graphicFrame>
        <p:nvGraphicFramePr>
          <p:cNvPr id="16" name="Таблица 15">
            <a:extLst>
              <a:ext uri="{FF2B5EF4-FFF2-40B4-BE49-F238E27FC236}"/>
            </a:extLst>
          </p:cNvPr>
          <p:cNvGraphicFramePr>
            <a:graphicFrameLocks noGrp="1"/>
          </p:cNvGraphicFramePr>
          <p:nvPr/>
        </p:nvGraphicFramePr>
        <p:xfrm>
          <a:off x="349250" y="1981200"/>
          <a:ext cx="5345113" cy="47037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79811">
                  <a:extLst>
                    <a:ext uri="{9D8B030D-6E8A-4147-A177-3AD203B41FA5}"/>
                  </a:extLst>
                </a:gridCol>
                <a:gridCol w="3865677">
                  <a:extLst>
                    <a:ext uri="{9D8B030D-6E8A-4147-A177-3AD203B41FA5}"/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ru-RU" sz="1800" b="1" dirty="0"/>
                        <a:t>35%</a:t>
                      </a:r>
                    </a:p>
                    <a:p>
                      <a:endParaRPr lang="ru-RU" sz="1800" b="1" dirty="0"/>
                    </a:p>
                    <a:p>
                      <a:r>
                        <a:rPr lang="ru-RU" sz="1800" b="1" dirty="0"/>
                        <a:t>20-25%</a:t>
                      </a:r>
                    </a:p>
                    <a:p>
                      <a:endParaRPr lang="ru-RU" sz="1800" b="1" dirty="0"/>
                    </a:p>
                    <a:p>
                      <a:r>
                        <a:rPr lang="ru-RU" sz="1800" b="1" dirty="0"/>
                        <a:t>25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20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8%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До 10%</a:t>
                      </a:r>
                      <a:endParaRPr lang="en-US" sz="1800" b="1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dirty="0"/>
                    </a:p>
                    <a:p>
                      <a:endParaRPr lang="en-US" sz="1800" b="1" dirty="0"/>
                    </a:p>
                  </a:txBody>
                  <a:tcPr marL="93341" marR="93341" marT="293989" marB="293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Легкая промышленность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Минеральная вода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Молочная продукция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575757"/>
                        </a:solidFill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575757"/>
                          </a:solidFill>
                        </a:rPr>
                        <a:t>Парфюмерия и косметика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575757"/>
                        </a:solidFill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575757"/>
                          </a:solidFill>
                        </a:rPr>
                        <a:t>Табачная продукция</a:t>
                      </a: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>
                        <a:solidFill>
                          <a:srgbClr val="575757"/>
                        </a:solidFill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>
                          <a:solidFill>
                            <a:srgbClr val="575757"/>
                          </a:solidFill>
                        </a:rPr>
                        <a:t>Лекарственные препараты</a:t>
                      </a:r>
                      <a:endParaRPr lang="en-US" sz="1100" dirty="0">
                        <a:solidFill>
                          <a:srgbClr val="575757"/>
                        </a:solidFill>
                      </a:endParaRPr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/>
                    </a:p>
                    <a:p>
                      <a:pPr marL="0" marR="0" lvl="0" indent="0" algn="l" defTabSz="893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rgbClr val="575757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3341" marR="93341" marT="293989" marB="29398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</p:spTree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948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2948" name="think-cell Slide" r:id="rId4" imgW="360" imgH="360" progId="">
              <p:embed/>
            </p:oleObj>
          </a:graphicData>
        </a:graphic>
      </p:graphicFrame>
      <p:pic>
        <p:nvPicPr>
          <p:cNvPr id="82949" name="Picture 43"/>
          <p:cNvPicPr preferRelativeResize="0">
            <a:picLocks noChangeAspect="1" noChangeArrowheads="1"/>
          </p:cNvPicPr>
          <p:nvPr/>
        </p:nvPicPr>
        <p:blipFill>
          <a:blip r:embed="rId5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739775" y="357188"/>
            <a:ext cx="10523538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Поставщики решений для маркировки</a:t>
            </a:r>
            <a:endParaRPr lang="en-US" sz="2160" b="1" dirty="0"/>
          </a:p>
        </p:txBody>
      </p:sp>
      <p:sp>
        <p:nvSpPr>
          <p:cNvPr id="3" name="TextBox 2">
            <a:extLst>
              <a:ext uri="{FF2B5EF4-FFF2-40B4-BE49-F238E27FC236}"/>
            </a:extLst>
          </p:cNvPr>
          <p:cNvSpPr txBox="1"/>
          <p:nvPr/>
        </p:nvSpPr>
        <p:spPr>
          <a:xfrm>
            <a:off x="454025" y="1176338"/>
            <a:ext cx="4127500" cy="4127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595959"/>
                </a:solidFill>
              </a:rPr>
              <a:t>Поставщики кассовых решений</a:t>
            </a:r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454025" y="2689225"/>
            <a:ext cx="5046663" cy="4127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595959"/>
                </a:solidFill>
              </a:rPr>
              <a:t>Операторы фискальных данных (ОФД)</a:t>
            </a:r>
          </a:p>
        </p:txBody>
      </p:sp>
      <p:sp>
        <p:nvSpPr>
          <p:cNvPr id="8" name="TextBox 7">
            <a:extLst>
              <a:ext uri="{FF2B5EF4-FFF2-40B4-BE49-F238E27FC236}"/>
            </a:extLst>
          </p:cNvPr>
          <p:cNvSpPr txBox="1"/>
          <p:nvPr/>
        </p:nvSpPr>
        <p:spPr>
          <a:xfrm>
            <a:off x="519113" y="5483225"/>
            <a:ext cx="5046662" cy="4127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595959"/>
                </a:solidFill>
              </a:rPr>
              <a:t>Операторы ЭДО</a:t>
            </a: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519113" y="4059238"/>
            <a:ext cx="5046662" cy="41275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595959"/>
                </a:solidFill>
              </a:rPr>
              <a:t>Разработчики учетных решений</a:t>
            </a:r>
          </a:p>
        </p:txBody>
      </p:sp>
      <p:pic>
        <p:nvPicPr>
          <p:cNvPr id="82955" name="Рисунок 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7163" y="1557338"/>
            <a:ext cx="10309225" cy="110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6" name="Рисунок 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49250" y="3241675"/>
            <a:ext cx="8391525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7" name="Рисунок 5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9250" y="5954713"/>
            <a:ext cx="883920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8" name="Рисунок 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631488" y="1854200"/>
            <a:ext cx="146685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59" name="Рисунок 1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455025" y="3273425"/>
            <a:ext cx="146685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60" name="Рисунок 12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9224963" y="4649788"/>
            <a:ext cx="146685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961" name="Рисунок 1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96875" y="4483100"/>
            <a:ext cx="8058150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97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3972" name="think-cell Slide" r:id="rId4" imgW="360" imgH="360" progId="">
              <p:embed/>
            </p:oleObj>
          </a:graphicData>
        </a:graphic>
      </p:graphicFrame>
      <p:pic>
        <p:nvPicPr>
          <p:cNvPr id="83973" name="Picture 43"/>
          <p:cNvPicPr preferRelativeResize="0">
            <a:picLocks noChangeAspect="1" noChangeArrowheads="1"/>
          </p:cNvPicPr>
          <p:nvPr/>
        </p:nvPicPr>
        <p:blipFill>
          <a:blip r:embed="rId5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739775" y="357188"/>
            <a:ext cx="10523538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Раздел маркировки табака на сайте </a:t>
            </a:r>
            <a:r>
              <a:rPr lang="ru-RU" sz="2160" b="1" dirty="0" err="1">
                <a:latin typeface="PT Sans Caption "/>
              </a:rPr>
              <a:t>ЧестныйЗНАК.рф</a:t>
            </a:r>
            <a:endParaRPr lang="en-US" sz="2160" b="1" dirty="0"/>
          </a:p>
        </p:txBody>
      </p:sp>
      <p:pic>
        <p:nvPicPr>
          <p:cNvPr id="83975" name="Рисунок 1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8350" y="1220788"/>
            <a:ext cx="10655300" cy="528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7" name="Рисунок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103438" y="1263650"/>
            <a:ext cx="6931025" cy="550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4996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4996" name="think-cell Slide" r:id="rId5" imgW="360" imgH="360" progId="">
              <p:embed/>
            </p:oleObj>
          </a:graphicData>
        </a:graphic>
      </p:graphicFrame>
      <p:pic>
        <p:nvPicPr>
          <p:cNvPr id="84998" name="Picture 43"/>
          <p:cNvPicPr preferRelativeResize="0">
            <a:picLocks noChangeAspect="1" noChangeArrowheads="1"/>
          </p:cNvPicPr>
          <p:nvPr/>
        </p:nvPicPr>
        <p:blipFill>
          <a:blip r:embed="rId6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739775" y="357188"/>
            <a:ext cx="10523538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sz="2160" b="1" dirty="0">
                <a:latin typeface="PT Sans Caption "/>
              </a:rPr>
              <a:t>Регистрация в системе и партнерские решения</a:t>
            </a:r>
            <a:endParaRPr lang="en-US" sz="2160" b="1" dirty="0"/>
          </a:p>
        </p:txBody>
      </p:sp>
      <p:sp>
        <p:nvSpPr>
          <p:cNvPr id="10" name="Прямоугольник 9">
            <a:extLst>
              <a:ext uri="{FF2B5EF4-FFF2-40B4-BE49-F238E27FC236}"/>
            </a:extLst>
          </p:cNvPr>
          <p:cNvSpPr/>
          <p:nvPr/>
        </p:nvSpPr>
        <p:spPr>
          <a:xfrm>
            <a:off x="2054225" y="2836863"/>
            <a:ext cx="1057275" cy="442912"/>
          </a:xfrm>
          <a:prstGeom prst="rect">
            <a:avLst/>
          </a:prstGeom>
          <a:noFill/>
          <a:ln w="38100" cap="rnd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/>
            </a:extLst>
          </p:cNvPr>
          <p:cNvSpPr/>
          <p:nvPr/>
        </p:nvSpPr>
        <p:spPr>
          <a:xfrm>
            <a:off x="6697663" y="6080125"/>
            <a:ext cx="2078037" cy="600075"/>
          </a:xfrm>
          <a:prstGeom prst="rect">
            <a:avLst/>
          </a:prstGeom>
          <a:noFill/>
          <a:ln w="38100" cap="rnd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/>
            </a:extLst>
          </p:cNvPr>
          <p:cNvSpPr/>
          <p:nvPr/>
        </p:nvSpPr>
        <p:spPr>
          <a:xfrm>
            <a:off x="3532188" y="1263650"/>
            <a:ext cx="652462" cy="328613"/>
          </a:xfrm>
          <a:prstGeom prst="rect">
            <a:avLst/>
          </a:prstGeom>
          <a:noFill/>
          <a:ln w="38100" cap="rnd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020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6020" name="think-cell Slide" r:id="rId4" imgW="360" imgH="360" progId="">
              <p:embed/>
            </p:oleObj>
          </a:graphicData>
        </a:graphic>
      </p:graphicFrame>
      <p:pic>
        <p:nvPicPr>
          <p:cNvPr id="86021" name="Picture 24" descr="Screen Clippi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0"/>
            <a:ext cx="12190413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2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86023" name="Title 1"/>
          <p:cNvSpPr>
            <a:spLocks noGrp="1"/>
          </p:cNvSpPr>
          <p:nvPr>
            <p:ph type="title"/>
          </p:nvPr>
        </p:nvSpPr>
        <p:spPr>
          <a:xfrm>
            <a:off x="433388" y="327025"/>
            <a:ext cx="11241087" cy="500063"/>
          </a:xfrm>
        </p:spPr>
        <p:txBody>
          <a:bodyPr>
            <a:spAutoFit/>
          </a:bodyPr>
          <a:lstStyle/>
          <a:p>
            <a:pPr>
              <a:tabLst>
                <a:tab pos="5922963" algn="l"/>
              </a:tabLst>
            </a:pPr>
            <a:r>
              <a:rPr lang="ru-RU" smtClean="0">
                <a:latin typeface="PT Sans Caption"/>
              </a:rPr>
              <a:t>Спасибо за внимание!	</a:t>
            </a:r>
            <a:endParaRPr lang="en-US" sz="1100" b="0" smtClean="0">
              <a:solidFill>
                <a:srgbClr val="FFFFFF"/>
              </a:solidFill>
              <a:latin typeface="PT Sans Caption"/>
            </a:endParaRPr>
          </a:p>
        </p:txBody>
      </p:sp>
      <p:grpSp>
        <p:nvGrpSpPr>
          <p:cNvPr id="86024" name="Group 4"/>
          <p:cNvGrpSpPr>
            <a:grpSpLocks/>
          </p:cNvGrpSpPr>
          <p:nvPr/>
        </p:nvGrpSpPr>
        <p:grpSpPr bwMode="auto">
          <a:xfrm>
            <a:off x="3657600" y="2573338"/>
            <a:ext cx="8269288" cy="4910137"/>
            <a:chOff x="6685280" y="1889760"/>
            <a:chExt cx="5233116" cy="2778125"/>
          </a:xfrm>
        </p:grpSpPr>
        <p:sp>
          <p:nvSpPr>
            <p:cNvPr id="28" name="Rectangle 27"/>
            <p:cNvSpPr/>
            <p:nvPr/>
          </p:nvSpPr>
          <p:spPr>
            <a:xfrm>
              <a:off x="6685280" y="1889760"/>
              <a:ext cx="5232111" cy="207304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  <p:sp>
          <p:nvSpPr>
            <p:cNvPr id="29" name="ee4pContent1"/>
            <p:cNvSpPr txBox="1"/>
            <p:nvPr/>
          </p:nvSpPr>
          <p:spPr>
            <a:xfrm>
              <a:off x="6922373" y="3231667"/>
              <a:ext cx="4996023" cy="1436218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>
              <a:ext uri="{91240B29-F687-4F45-9708-019B960494DF}"/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/>
            <a:lstStyle>
              <a:defPPr>
                <a:defRPr lang="en-US"/>
              </a:defPPr>
              <a:lvl1pPr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1200">
                  <a:solidFill>
                    <a:srgbClr val="595959"/>
                  </a:solidFill>
                  <a:latin typeface="PT Sans Caption" panose="020B0603020203020204" charset="0"/>
                  <a:cs typeface="Arial" pitchFamily="34" charset="0"/>
                </a:defRPr>
              </a:lvl1pPr>
              <a:lvl2pPr marL="324000" lvl="1" indent="-216000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•"/>
                <a:defRPr sz="1200">
                  <a:solidFill>
                    <a:srgbClr val="595959"/>
                  </a:solidFill>
                  <a:latin typeface="PT Sans Caption" panose="020B0603020203020204" charset="0"/>
                </a:defRPr>
              </a:lvl2pPr>
              <a:lvl3pPr marL="648000" lvl="2" indent="-216000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–"/>
                <a:defRPr sz="1200">
                  <a:solidFill>
                    <a:srgbClr val="595959"/>
                  </a:solidFill>
                  <a:latin typeface="PT Sans Caption" panose="020B0603020203020204" charset="0"/>
                </a:defRPr>
              </a:lvl3pPr>
              <a:lvl4pPr marL="0" lvl="3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95959"/>
                  </a:solidFill>
                  <a:latin typeface="PT Sans Caption" panose="020B0603020203020204" charset="0"/>
                </a:defRPr>
              </a:lvl4pPr>
              <a:lvl5pPr marL="0" lvl="4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1600" b="1">
                  <a:solidFill>
                    <a:srgbClr val="595959"/>
                  </a:solidFill>
                  <a:latin typeface="PT Sans Caption" panose="020B0603020203020204" charset="0"/>
                </a:defRPr>
              </a:lvl5pPr>
              <a:lvl6pPr marL="324000" lvl="5" indent="-216000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•"/>
                <a:defRPr sz="1600">
                  <a:solidFill>
                    <a:srgbClr val="595959"/>
                  </a:solidFill>
                  <a:latin typeface="PT Sans Caption" panose="020B0603020203020204" charset="0"/>
                </a:defRPr>
              </a:lvl6pPr>
              <a:lvl7pPr marL="0" lvl="6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4400">
                  <a:solidFill>
                    <a:srgbClr val="595959"/>
                  </a:solidFill>
                  <a:latin typeface="PT Sans Caption" panose="020B0603020203020204" charset="0"/>
                </a:defRPr>
              </a:lvl7pPr>
              <a:lvl8pPr marL="0" lvl="7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5400">
                  <a:solidFill>
                    <a:srgbClr val="595959"/>
                  </a:solidFill>
                  <a:latin typeface="PT Sans Caption" panose="020B0603020203020204" charset="0"/>
                </a:defRPr>
              </a:lvl8pPr>
              <a:lvl9pPr marL="0" lvl="8">
                <a:buClr>
                  <a:srgbClr val="595959"/>
                </a:buClr>
                <a:buSzPct val="100000"/>
                <a:buFont typeface="Trebuchet MS" panose="020B0603020202020204" pitchFamily="34" charset="0"/>
                <a:buChar char="​"/>
                <a:defRPr sz="2400">
                  <a:solidFill>
                    <a:srgbClr val="595959"/>
                  </a:solidFill>
                  <a:latin typeface="PT Sans Caption" panose="020B0603020203020204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None/>
                <a:defRPr/>
              </a:pPr>
              <a:r>
                <a:rPr lang="en-US" sz="1800" b="1" dirty="0">
                  <a:hlinkClick r:id="rId6"/>
                </a:rPr>
                <a:t>https://</a:t>
              </a:r>
              <a:r>
                <a:rPr lang="ru-RU" sz="1800" b="1" dirty="0" err="1">
                  <a:hlinkClick r:id="rId6"/>
                </a:rPr>
                <a:t>честныйзнак.рф</a:t>
              </a:r>
              <a:r>
                <a:rPr lang="ru-RU" sz="1800" b="1" dirty="0">
                  <a:hlinkClick r:id="rId6"/>
                </a:rPr>
                <a:t>/</a:t>
              </a:r>
              <a:endParaRPr lang="en-US" sz="1800" b="1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None/>
                <a:defRPr/>
              </a:pPr>
              <a:endParaRPr lang="ru-RU" sz="1800" b="1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buFont typeface="Trebuchet MS" panose="020B0603020202020204" pitchFamily="34" charset="0"/>
                <a:buNone/>
                <a:defRPr/>
              </a:pPr>
              <a:r>
                <a:rPr lang="en-US" sz="1800" b="1" dirty="0">
                  <a:hlinkClick r:id="rId7"/>
                </a:rPr>
                <a:t>https://crpt.ru/</a:t>
              </a:r>
              <a:endParaRPr lang="ru-RU" sz="1800" b="1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/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/>
            </a:p>
          </p:txBody>
        </p:sp>
        <p:sp>
          <p:nvSpPr>
            <p:cNvPr id="86029" name="ee4pHeader1"/>
            <p:cNvSpPr txBox="1">
              <a:spLocks noChangeArrowheads="1"/>
            </p:cNvSpPr>
            <p:nvPr/>
          </p:nvSpPr>
          <p:spPr bwMode="auto">
            <a:xfrm>
              <a:off x="6914386" y="2645005"/>
              <a:ext cx="4995640" cy="657599"/>
            </a:xfrm>
            <a:prstGeom prst="rect">
              <a:avLst/>
            </a:prstGeom>
            <a:noFill/>
            <a:ln w="9525" cap="rnd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 marL="0" lvl="3"/>
              <a:endParaRPr lang="ru-RU" sz="2400">
                <a:solidFill>
                  <a:srgbClr val="595959"/>
                </a:solidFill>
                <a:latin typeface="PT Sans Caption"/>
              </a:endParaRPr>
            </a:p>
            <a:p>
              <a:pPr marL="0" lvl="3"/>
              <a:r>
                <a:rPr lang="ru-RU" sz="2400">
                  <a:solidFill>
                    <a:srgbClr val="595959"/>
                  </a:solidFill>
                  <a:latin typeface="PT Sans Caption"/>
                </a:rPr>
                <a:t>Лев Авдеев, </a:t>
              </a:r>
            </a:p>
            <a:p>
              <a:pPr marL="0" lvl="3"/>
              <a:r>
                <a:rPr lang="ru-RU" sz="2400">
                  <a:solidFill>
                    <a:srgbClr val="595959"/>
                  </a:solidFill>
                  <a:latin typeface="PT Sans Caption"/>
                </a:rPr>
                <a:t>Ведущий бизнес-аналитик </a:t>
              </a:r>
            </a:p>
            <a:p>
              <a:pPr marL="0" lvl="3"/>
              <a:r>
                <a:rPr lang="ru-RU" sz="2400">
                  <a:solidFill>
                    <a:srgbClr val="595959"/>
                  </a:solidFill>
                  <a:latin typeface="PT Sans Caption"/>
                </a:rPr>
                <a:t>товарной группы «Табак»</a:t>
              </a:r>
            </a:p>
            <a:p>
              <a:pPr marL="0" lvl="3"/>
              <a:endParaRPr lang="ru-RU" sz="2400">
                <a:solidFill>
                  <a:srgbClr val="595959"/>
                </a:solidFill>
                <a:latin typeface="PT Sans Caption"/>
              </a:endParaRPr>
            </a:p>
            <a:p>
              <a:pPr marL="0" lvl="3"/>
              <a:r>
                <a:rPr lang="en-US" b="1" u="sng">
                  <a:latin typeface="PT Sans Caption"/>
                  <a:hlinkClick r:id="rId8"/>
                </a:rPr>
                <a:t>support</a:t>
              </a:r>
              <a:r>
                <a:rPr lang="ru-RU" b="1" u="sng">
                  <a:latin typeface="PT Sans Caption"/>
                  <a:hlinkClick r:id="rId8"/>
                </a:rPr>
                <a:t>@</a:t>
              </a:r>
              <a:r>
                <a:rPr lang="en-US" b="1" u="sng">
                  <a:latin typeface="PT Sans Caption"/>
                  <a:hlinkClick r:id="rId8"/>
                </a:rPr>
                <a:t>crpt</a:t>
              </a:r>
              <a:r>
                <a:rPr lang="ru-RU" b="1" u="sng">
                  <a:latin typeface="PT Sans Caption"/>
                  <a:hlinkClick r:id="rId8"/>
                </a:rPr>
                <a:t>.</a:t>
              </a:r>
              <a:r>
                <a:rPr lang="en-US" b="1" u="sng">
                  <a:latin typeface="PT Sans Caption"/>
                  <a:hlinkClick r:id="rId8"/>
                </a:rPr>
                <a:t>ru</a:t>
              </a:r>
              <a:endParaRPr lang="en-US" b="1" u="sng">
                <a:latin typeface="PT Sans Caption"/>
              </a:endParaRPr>
            </a:p>
            <a:p>
              <a:pPr marL="0" lvl="3"/>
              <a:endParaRPr lang="en-US" b="1" u="sng">
                <a:latin typeface="PT Sans Caption"/>
              </a:endParaRPr>
            </a:p>
            <a:p>
              <a:pPr marL="0" lvl="3"/>
              <a:r>
                <a:rPr lang="en-US" sz="2400">
                  <a:solidFill>
                    <a:srgbClr val="595959"/>
                  </a:solidFill>
                  <a:latin typeface="PT Sans Caption"/>
                </a:rPr>
                <a:t>+7 800 222-15-23</a:t>
              </a:r>
            </a:p>
          </p:txBody>
        </p:sp>
        <p:pic>
          <p:nvPicPr>
            <p:cNvPr id="86030" name="Picture 33"/>
            <p:cNvPicPr preferRelativeResize="0">
              <a:picLocks noChangeAspect="1" noChangeArrowheads="1"/>
            </p:cNvPicPr>
            <p:nvPr/>
          </p:nvPicPr>
          <p:blipFill>
            <a:blip r:embed="rId9"/>
            <a:srcRect l="-56" t="571" r="55" b="32591"/>
            <a:stretch>
              <a:fillRect/>
            </a:stretch>
          </p:blipFill>
          <p:spPr bwMode="auto">
            <a:xfrm>
              <a:off x="11041807" y="2059485"/>
              <a:ext cx="731204" cy="9415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5" name="TextBox 34"/>
          <p:cNvSpPr txBox="1"/>
          <p:nvPr/>
        </p:nvSpPr>
        <p:spPr>
          <a:xfrm>
            <a:off x="4019550" y="1582738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FFFFFF"/>
                </a:solidFill>
              </a:rPr>
              <a:t>По вопросам системы маркировки</a:t>
            </a:r>
            <a:endParaRPr lang="en-US" sz="1400" dirty="0" err="1">
              <a:solidFill>
                <a:srgbClr val="FFFFFF"/>
              </a:solidFill>
            </a:endParaRPr>
          </a:p>
        </p:txBody>
      </p:sp>
      <p:sp>
        <p:nvSpPr>
          <p:cNvPr id="86026" name="Rectangle 6"/>
          <p:cNvSpPr>
            <a:spLocks noChangeArrowheads="1"/>
          </p:cNvSpPr>
          <p:nvPr/>
        </p:nvSpPr>
        <p:spPr bwMode="auto">
          <a:xfrm>
            <a:off x="4022725" y="1452563"/>
            <a:ext cx="27257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 b="1">
                <a:solidFill>
                  <a:srgbClr val="FFFFFF"/>
                </a:solidFill>
                <a:latin typeface="PT Sans Caption"/>
              </a:rPr>
              <a:t>Контакты для связи</a:t>
            </a:r>
            <a:endParaRPr lang="en-US" sz="2000" b="1">
              <a:solidFill>
                <a:srgbClr val="FFFFFF"/>
              </a:solidFill>
              <a:latin typeface="PT Sans Caption"/>
            </a:endParaRP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61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3" y="1588"/>
          <a:ext cx="1587" cy="1587"/>
        </p:xfrm>
        <a:graphic>
          <a:graphicData uri="http://schemas.openxmlformats.org/presentationml/2006/ole">
            <p:oleObj spid="_x0000_s68612" name="think-cell Slide" r:id="rId5" imgW="360" imgH="360" progId="">
              <p:embed/>
            </p:oleObj>
          </a:graphicData>
        </a:graphic>
      </p:graphicFrame>
      <p:sp>
        <p:nvSpPr>
          <p:cNvPr id="1533" name="Title 1"/>
          <p:cNvSpPr txBox="1">
            <a:spLocks noGrp="1"/>
          </p:cNvSpPr>
          <p:nvPr>
            <p:ph type="title"/>
          </p:nvPr>
        </p:nvSpPr>
        <p:spPr>
          <a:xfrm>
            <a:off x="644525" y="287338"/>
            <a:ext cx="10907713" cy="611187"/>
          </a:xfrm>
        </p:spPr>
        <p:txBody>
          <a:bodyPr rtlCol="0"/>
          <a:lstStyle>
            <a:lvl1pPr defTabSz="839852">
              <a:defRPr sz="2162" b="1"/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ru-RU" dirty="0">
                <a:latin typeface="PT Sans Caption"/>
              </a:rPr>
              <a:t>Принято решение о создании единой системы маркировки и прослеживаемости товаров в РФ</a:t>
            </a:r>
          </a:p>
        </p:txBody>
      </p:sp>
      <p:sp>
        <p:nvSpPr>
          <p:cNvPr id="1534" name="ee4pContent2"/>
          <p:cNvSpPr txBox="1"/>
          <p:nvPr/>
        </p:nvSpPr>
        <p:spPr>
          <a:xfrm>
            <a:off x="922338" y="1541463"/>
            <a:ext cx="10347325" cy="512762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>
            <a:spAutoFit/>
          </a:bodyPr>
          <a:lstStyle>
            <a:lvl1pPr defTabSz="893459">
              <a:buClr>
                <a:schemeClr val="accent2">
                  <a:lumOff val="21764"/>
                </a:schemeClr>
              </a:buClr>
              <a:buSzPct val="100000"/>
              <a:buFont typeface="Trebuchet MS"/>
              <a:buChar char="​"/>
              <a:defRPr sz="1600" b="1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По поручению Председателя Правительства РФ Дмитрия Медведева к 2024 году должна быть создана сквозная система маркировки товаров контрольными идентификационными знаками</a:t>
            </a:r>
          </a:p>
        </p:txBody>
      </p:sp>
      <p:sp>
        <p:nvSpPr>
          <p:cNvPr id="1535" name="Существующие системы"/>
          <p:cNvSpPr txBox="1"/>
          <p:nvPr/>
        </p:nvSpPr>
        <p:spPr>
          <a:xfrm>
            <a:off x="1570038" y="2744788"/>
            <a:ext cx="3035300" cy="38258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1800" b="1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37" dirty="0">
                <a:solidFill>
                  <a:srgbClr val="6E6F73"/>
                </a:solidFill>
                <a:latin typeface="PT Sans Caption"/>
                <a:cs typeface="+mn-cs"/>
              </a:rPr>
              <a:t>Существующие системы</a:t>
            </a:r>
          </a:p>
        </p:txBody>
      </p:sp>
      <p:sp>
        <p:nvSpPr>
          <p:cNvPr id="1536" name="Пилотные проекты"/>
          <p:cNvSpPr txBox="1"/>
          <p:nvPr/>
        </p:nvSpPr>
        <p:spPr>
          <a:xfrm>
            <a:off x="7456488" y="2698750"/>
            <a:ext cx="2419350" cy="382588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1800" b="1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37" dirty="0">
                <a:solidFill>
                  <a:srgbClr val="6E6F73"/>
                </a:solidFill>
                <a:latin typeface="PT Sans Caption"/>
                <a:cs typeface="+mn-cs"/>
              </a:rPr>
              <a:t>Пилотные проекты</a:t>
            </a:r>
          </a:p>
        </p:txBody>
      </p:sp>
      <p:sp>
        <p:nvSpPr>
          <p:cNvPr id="1538" name="Алкоголь"/>
          <p:cNvSpPr txBox="1"/>
          <p:nvPr/>
        </p:nvSpPr>
        <p:spPr>
          <a:xfrm>
            <a:off x="549275" y="3587750"/>
            <a:ext cx="982663" cy="344488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Алкоголь</a:t>
            </a:r>
          </a:p>
        </p:txBody>
      </p:sp>
      <p:sp>
        <p:nvSpPr>
          <p:cNvPr id="1539" name="Меховые изделия"/>
          <p:cNvSpPr txBox="1"/>
          <p:nvPr/>
        </p:nvSpPr>
        <p:spPr>
          <a:xfrm>
            <a:off x="549275" y="4198938"/>
            <a:ext cx="1831975" cy="34448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Меховые изделия</a:t>
            </a:r>
          </a:p>
        </p:txBody>
      </p:sp>
      <p:sp>
        <p:nvSpPr>
          <p:cNvPr id="1540" name="Лекарственные…"/>
          <p:cNvSpPr txBox="1"/>
          <p:nvPr/>
        </p:nvSpPr>
        <p:spPr>
          <a:xfrm>
            <a:off x="6419850" y="3402013"/>
            <a:ext cx="1660525" cy="595312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600"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Лекарственные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 sz="1600"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препараты</a:t>
            </a:r>
          </a:p>
        </p:txBody>
      </p:sp>
      <p:sp>
        <p:nvSpPr>
          <p:cNvPr id="1541" name="Табачная продукция"/>
          <p:cNvSpPr txBox="1"/>
          <p:nvPr/>
        </p:nvSpPr>
        <p:spPr>
          <a:xfrm>
            <a:off x="6419850" y="4184650"/>
            <a:ext cx="2082800" cy="344488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Табачная продукция</a:t>
            </a:r>
          </a:p>
        </p:txBody>
      </p:sp>
      <p:sp>
        <p:nvSpPr>
          <p:cNvPr id="1542" name="Обувь"/>
          <p:cNvSpPr txBox="1"/>
          <p:nvPr/>
        </p:nvSpPr>
        <p:spPr>
          <a:xfrm>
            <a:off x="6419850" y="4843463"/>
            <a:ext cx="1703388" cy="342900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Одежда и Обувь</a:t>
            </a:r>
          </a:p>
        </p:txBody>
      </p:sp>
      <p:sp>
        <p:nvSpPr>
          <p:cNvPr id="1543" name="Продукция животного…"/>
          <p:cNvSpPr txBox="1"/>
          <p:nvPr/>
        </p:nvSpPr>
        <p:spPr>
          <a:xfrm>
            <a:off x="6419850" y="5375275"/>
            <a:ext cx="2252663" cy="593725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600"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Продукция животного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 sz="1600"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происхождения</a:t>
            </a:r>
          </a:p>
        </p:txBody>
      </p:sp>
      <p:sp>
        <p:nvSpPr>
          <p:cNvPr id="1546" name="Ювелирные изделия"/>
          <p:cNvSpPr txBox="1"/>
          <p:nvPr/>
        </p:nvSpPr>
        <p:spPr>
          <a:xfrm>
            <a:off x="6419850" y="6186488"/>
            <a:ext cx="2114550" cy="342900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160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33" dirty="0">
                <a:solidFill>
                  <a:srgbClr val="6E6F73"/>
                </a:solidFill>
                <a:latin typeface="PT Sans Caption"/>
                <a:cs typeface="+mn-cs"/>
              </a:rPr>
              <a:t>Ювелирные изделия</a:t>
            </a:r>
          </a:p>
        </p:txBody>
      </p:sp>
      <p:pic>
        <p:nvPicPr>
          <p:cNvPr id="68624" name="Рисунок 49" descr="Рисунок 49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029700" y="6226175"/>
            <a:ext cx="1338263" cy="5508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68625" name="Picture 18" descr="Picture 18"/>
          <p:cNvPicPr>
            <a:picLocks noChangeAspect="1"/>
          </p:cNvPicPr>
          <p:nvPr/>
        </p:nvPicPr>
        <p:blipFill>
          <a:blip r:embed="rId7"/>
          <a:srcRect t="52705" r="2708" b="38765"/>
          <a:stretch>
            <a:fillRect/>
          </a:stretch>
        </p:blipFill>
        <p:spPr bwMode="auto">
          <a:xfrm>
            <a:off x="8888413" y="5489575"/>
            <a:ext cx="1620837" cy="36512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68626" name="Picture 18" descr="Picture 18"/>
          <p:cNvPicPr>
            <a:picLocks noChangeAspect="1"/>
          </p:cNvPicPr>
          <p:nvPr/>
        </p:nvPicPr>
        <p:blipFill>
          <a:blip r:embed="rId7"/>
          <a:srcRect t="10127" b="81012"/>
          <a:stretch>
            <a:fillRect/>
          </a:stretch>
        </p:blipFill>
        <p:spPr bwMode="auto">
          <a:xfrm>
            <a:off x="2914650" y="4225925"/>
            <a:ext cx="1666875" cy="36036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68627" name="Picture 18" descr="Picture 18"/>
          <p:cNvPicPr>
            <a:picLocks noChangeAspect="1"/>
          </p:cNvPicPr>
          <p:nvPr/>
        </p:nvPicPr>
        <p:blipFill>
          <a:blip r:embed="rId7"/>
          <a:srcRect b="89458"/>
          <a:stretch>
            <a:fillRect/>
          </a:stretch>
        </p:blipFill>
        <p:spPr bwMode="auto">
          <a:xfrm>
            <a:off x="2914650" y="3527425"/>
            <a:ext cx="1666875" cy="427038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sp>
        <p:nvSpPr>
          <p:cNvPr id="1558" name="Закругленный прямоугольник"/>
          <p:cNvSpPr/>
          <p:nvPr/>
        </p:nvSpPr>
        <p:spPr>
          <a:xfrm>
            <a:off x="549275" y="2513013"/>
            <a:ext cx="823913" cy="822325"/>
          </a:xfrm>
          <a:prstGeom prst="roundRect">
            <a:avLst>
              <a:gd name="adj" fmla="val 15000"/>
            </a:avLst>
          </a:prstGeom>
          <a:solidFill>
            <a:srgbClr val="EFE959"/>
          </a:solidFill>
          <a:ln w="12700">
            <a:miter lim="400000"/>
          </a:ln>
        </p:spPr>
        <p:txBody>
          <a:bodyPr lIns="46670" rIns="4667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37" dirty="0">
              <a:latin typeface="PT Sans Caption"/>
              <a:cs typeface="+mn-cs"/>
            </a:endParaRPr>
          </a:p>
        </p:txBody>
      </p:sp>
      <p:sp>
        <p:nvSpPr>
          <p:cNvPr id="1559" name="1"/>
          <p:cNvSpPr txBox="1"/>
          <p:nvPr/>
        </p:nvSpPr>
        <p:spPr>
          <a:xfrm>
            <a:off x="769938" y="2595563"/>
            <a:ext cx="357187" cy="657225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3600" b="1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75" dirty="0">
                <a:latin typeface="PT Sans Caption"/>
                <a:cs typeface="+mn-cs"/>
              </a:rPr>
              <a:t>1</a:t>
            </a:r>
          </a:p>
        </p:txBody>
      </p:sp>
      <p:sp>
        <p:nvSpPr>
          <p:cNvPr id="1560" name="Закругленный прямоугольник"/>
          <p:cNvSpPr/>
          <p:nvPr/>
        </p:nvSpPr>
        <p:spPr>
          <a:xfrm>
            <a:off x="6427788" y="2466975"/>
            <a:ext cx="822325" cy="822325"/>
          </a:xfrm>
          <a:prstGeom prst="roundRect">
            <a:avLst>
              <a:gd name="adj" fmla="val 15000"/>
            </a:avLst>
          </a:prstGeom>
          <a:solidFill>
            <a:srgbClr val="EFE959"/>
          </a:solidFill>
          <a:ln w="12700">
            <a:miter lim="400000"/>
          </a:ln>
        </p:spPr>
        <p:txBody>
          <a:bodyPr lIns="46670" rIns="4667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37" dirty="0">
              <a:latin typeface="PT Sans Caption"/>
              <a:cs typeface="+mn-cs"/>
            </a:endParaRPr>
          </a:p>
        </p:txBody>
      </p:sp>
      <p:sp>
        <p:nvSpPr>
          <p:cNvPr id="1561" name="2"/>
          <p:cNvSpPr txBox="1"/>
          <p:nvPr/>
        </p:nvSpPr>
        <p:spPr>
          <a:xfrm>
            <a:off x="6611938" y="2549525"/>
            <a:ext cx="357187" cy="657225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46670" rIns="46670" anchor="ctr">
            <a:spAutoFit/>
          </a:bodyPr>
          <a:lstStyle>
            <a:lvl1pPr>
              <a:defRPr sz="3600" b="1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675" dirty="0">
                <a:latin typeface="PT Sans Caption"/>
                <a:cs typeface="+mn-cs"/>
              </a:rPr>
              <a:t>2</a:t>
            </a:r>
          </a:p>
        </p:txBody>
      </p:sp>
      <p:pic>
        <p:nvPicPr>
          <p:cNvPr id="68632" name="Рисунок 46" descr="Рисунок 46"/>
          <p:cNvPicPr>
            <a:picLocks noChangeAspect="1"/>
          </p:cNvPicPr>
          <p:nvPr/>
        </p:nvPicPr>
        <p:blipFill>
          <a:blip r:embed="rId8"/>
          <a:srcRect l="61424" b="14558"/>
          <a:stretch>
            <a:fillRect/>
          </a:stretch>
        </p:blipFill>
        <p:spPr bwMode="auto">
          <a:xfrm>
            <a:off x="9547225" y="3490913"/>
            <a:ext cx="606425" cy="39846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68633" name="Рисунок 46" descr="Рисунок 46"/>
          <p:cNvPicPr>
            <a:picLocks noChangeAspect="1"/>
          </p:cNvPicPr>
          <p:nvPr/>
        </p:nvPicPr>
        <p:blipFill>
          <a:blip r:embed="rId8"/>
          <a:srcRect l="61424" b="14558"/>
          <a:stretch>
            <a:fillRect/>
          </a:stretch>
        </p:blipFill>
        <p:spPr bwMode="auto">
          <a:xfrm>
            <a:off x="4560888" y="4198938"/>
            <a:ext cx="608012" cy="39846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68634" name="Рисунок 46" descr="Рисунок 46"/>
          <p:cNvPicPr>
            <a:picLocks noChangeAspect="1"/>
          </p:cNvPicPr>
          <p:nvPr/>
        </p:nvPicPr>
        <p:blipFill>
          <a:blip r:embed="rId8"/>
          <a:srcRect l="61424" b="14558"/>
          <a:stretch>
            <a:fillRect/>
          </a:stretch>
        </p:blipFill>
        <p:spPr bwMode="auto">
          <a:xfrm>
            <a:off x="9547225" y="4144963"/>
            <a:ext cx="606425" cy="39846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68635" name="Рисунок 46" descr="Рисунок 46"/>
          <p:cNvPicPr>
            <a:picLocks noChangeAspect="1"/>
          </p:cNvPicPr>
          <p:nvPr/>
        </p:nvPicPr>
        <p:blipFill>
          <a:blip r:embed="rId8"/>
          <a:srcRect l="61424" b="14558"/>
          <a:stretch>
            <a:fillRect/>
          </a:stretch>
        </p:blipFill>
        <p:spPr bwMode="auto">
          <a:xfrm>
            <a:off x="9547225" y="4783138"/>
            <a:ext cx="606425" cy="39846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cxnSp>
        <p:nvCxnSpPr>
          <p:cNvPr id="4" name="Прямая со стрелкой 3">
            <a:extLst>
              <a:ext uri="{FF2B5EF4-FFF2-40B4-BE49-F238E27FC236}"/>
            </a:extLst>
          </p:cNvPr>
          <p:cNvCxnSpPr>
            <a:cxnSpLocks/>
          </p:cNvCxnSpPr>
          <p:nvPr/>
        </p:nvCxnSpPr>
        <p:spPr>
          <a:xfrm flipV="1">
            <a:off x="4189413" y="4419600"/>
            <a:ext cx="266700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636" name="Object 4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9636" name="think-cell Slide" r:id="rId6" imgW="360" imgH="360" progId="">
              <p:embed/>
            </p:oleObj>
          </a:graphicData>
        </a:graphic>
      </p:graphicFrame>
      <p:sp>
        <p:nvSpPr>
          <p:cNvPr id="2" name="Rectangle 1"/>
          <p:cNvSpPr/>
          <p:nvPr/>
        </p:nvSpPr>
        <p:spPr>
          <a:xfrm>
            <a:off x="11183938" y="0"/>
            <a:ext cx="1008062" cy="109537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4" name="Arc 3"/>
          <p:cNvSpPr/>
          <p:nvPr/>
        </p:nvSpPr>
        <p:spPr>
          <a:xfrm>
            <a:off x="-4914900" y="-1870075"/>
            <a:ext cx="10585450" cy="10583863"/>
          </a:xfrm>
          <a:prstGeom prst="arc">
            <a:avLst>
              <a:gd name="adj1" fmla="val 19050420"/>
              <a:gd name="adj2" fmla="val 2629783"/>
            </a:avLst>
          </a:prstGeom>
          <a:ln w="95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8" tIns="45719" rIns="91438" bIns="45719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200" dirty="0">
              <a:solidFill>
                <a:schemeClr val="bg1"/>
              </a:solidFill>
              <a:sym typeface="PT Sans Caption" panose="020B0603020203020204" pitchFamily="34" charset="0"/>
            </a:endParaRPr>
          </a:p>
        </p:txBody>
      </p:sp>
      <p:sp>
        <p:nvSpPr>
          <p:cNvPr id="69639" name="Text Placeholder 8"/>
          <p:cNvSpPr txBox="1">
            <a:spLocks/>
          </p:cNvSpPr>
          <p:nvPr/>
        </p:nvSpPr>
        <p:spPr bwMode="auto">
          <a:xfrm>
            <a:off x="5919788" y="5516563"/>
            <a:ext cx="2990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buFont typeface="Arial" charset="0"/>
              <a:buNone/>
            </a:pPr>
            <a:r>
              <a:rPr lang="bg-BG" sz="2000">
                <a:latin typeface="PT Sans Caption"/>
                <a:sym typeface="PT Sans Caption"/>
              </a:rPr>
              <a:t>Экспортный потенциал</a:t>
            </a:r>
          </a:p>
        </p:txBody>
      </p:sp>
      <p:sp>
        <p:nvSpPr>
          <p:cNvPr id="69640" name="Text Placeholder 8"/>
          <p:cNvSpPr txBox="1">
            <a:spLocks/>
          </p:cNvSpPr>
          <p:nvPr/>
        </p:nvSpPr>
        <p:spPr bwMode="auto">
          <a:xfrm>
            <a:off x="6305550" y="3127375"/>
            <a:ext cx="2571750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buFont typeface="Arial" charset="0"/>
              <a:buNone/>
            </a:pPr>
            <a:r>
              <a:rPr lang="bg-BG" sz="2000">
                <a:latin typeface="PT Sans Caption"/>
                <a:sym typeface="PT Sans Caption"/>
              </a:rPr>
              <a:t>Производственные </a:t>
            </a:r>
            <a:br>
              <a:rPr lang="bg-BG" sz="2000">
                <a:latin typeface="PT Sans Caption"/>
                <a:sym typeface="PT Sans Caption"/>
              </a:rPr>
            </a:br>
            <a:r>
              <a:rPr lang="bg-BG" sz="2000">
                <a:latin typeface="PT Sans Caption"/>
                <a:sym typeface="PT Sans Caption"/>
              </a:rPr>
              <a:t>ресурсы</a:t>
            </a:r>
          </a:p>
        </p:txBody>
      </p:sp>
      <p:sp>
        <p:nvSpPr>
          <p:cNvPr id="6" name="Oval 5"/>
          <p:cNvSpPr/>
          <p:nvPr/>
        </p:nvSpPr>
        <p:spPr>
          <a:xfrm>
            <a:off x="4708525" y="731838"/>
            <a:ext cx="936625" cy="935037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6" name="Oval 75"/>
          <p:cNvSpPr/>
          <p:nvPr/>
        </p:nvSpPr>
        <p:spPr>
          <a:xfrm>
            <a:off x="5084763" y="1849438"/>
            <a:ext cx="936625" cy="935037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7" name="Oval 76"/>
          <p:cNvSpPr/>
          <p:nvPr/>
        </p:nvSpPr>
        <p:spPr>
          <a:xfrm>
            <a:off x="5187950" y="2967038"/>
            <a:ext cx="935038" cy="936625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>
            <a:off x="5067300" y="4084638"/>
            <a:ext cx="935038" cy="936625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9" name="Oval 78"/>
          <p:cNvSpPr/>
          <p:nvPr/>
        </p:nvSpPr>
        <p:spPr>
          <a:xfrm>
            <a:off x="4691063" y="5202238"/>
            <a:ext cx="935037" cy="936625"/>
          </a:xfrm>
          <a:prstGeom prst="ellipse">
            <a:avLst/>
          </a:prstGeom>
          <a:solidFill>
            <a:schemeClr val="bg1"/>
          </a:solidFill>
          <a:ln w="19050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9646" name="Text Placeholder 8"/>
          <p:cNvSpPr txBox="1">
            <a:spLocks/>
          </p:cNvSpPr>
          <p:nvPr/>
        </p:nvSpPr>
        <p:spPr bwMode="auto">
          <a:xfrm>
            <a:off x="6224588" y="4398963"/>
            <a:ext cx="205581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buFont typeface="Arial" charset="0"/>
              <a:buNone/>
            </a:pPr>
            <a:r>
              <a:rPr lang="bg-BG" sz="2000">
                <a:latin typeface="PT Sans Caption"/>
                <a:sym typeface="PT Sans Caption"/>
              </a:rPr>
              <a:t>Проекты в ЕАЭС</a:t>
            </a:r>
          </a:p>
        </p:txBody>
      </p:sp>
      <p:sp>
        <p:nvSpPr>
          <p:cNvPr id="69647" name="Text Placeholder 8"/>
          <p:cNvSpPr txBox="1">
            <a:spLocks/>
          </p:cNvSpPr>
          <p:nvPr/>
        </p:nvSpPr>
        <p:spPr bwMode="auto">
          <a:xfrm>
            <a:off x="5926138" y="1044575"/>
            <a:ext cx="20748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buFont typeface="Arial" charset="0"/>
              <a:buNone/>
            </a:pPr>
            <a:r>
              <a:rPr lang="bg-BG" sz="2000">
                <a:latin typeface="PT Sans Caption"/>
                <a:sym typeface="PT Sans Caption"/>
              </a:rPr>
              <a:t>Команда и опыт</a:t>
            </a:r>
          </a:p>
        </p:txBody>
      </p:sp>
      <p:sp>
        <p:nvSpPr>
          <p:cNvPr id="69648" name="Text Placeholder 8"/>
          <p:cNvSpPr txBox="1">
            <a:spLocks/>
          </p:cNvSpPr>
          <p:nvPr/>
        </p:nvSpPr>
        <p:spPr bwMode="auto">
          <a:xfrm>
            <a:off x="6223000" y="2009775"/>
            <a:ext cx="1719263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buFont typeface="Arial" charset="0"/>
              <a:buNone/>
            </a:pPr>
            <a:r>
              <a:rPr lang="bg-BG" sz="2000">
                <a:latin typeface="PT Sans Caption"/>
                <a:sym typeface="PT Sans Caption"/>
              </a:rPr>
              <a:t>Финансовые </a:t>
            </a:r>
            <a:br>
              <a:rPr lang="bg-BG" sz="2000">
                <a:latin typeface="PT Sans Caption"/>
                <a:sym typeface="PT Sans Caption"/>
              </a:rPr>
            </a:br>
            <a:r>
              <a:rPr lang="bg-BG" sz="2000">
                <a:latin typeface="PT Sans Caption"/>
                <a:sym typeface="PT Sans Caption"/>
              </a:rPr>
              <a:t>ресурсы</a:t>
            </a:r>
          </a:p>
        </p:txBody>
      </p:sp>
      <p:pic>
        <p:nvPicPr>
          <p:cNvPr id="69649" name="Picture 4" descr="https://static.tildacdn.com/tild6261-3765-4535-b966-313961316539/noroot.PNG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7825" y="2557463"/>
            <a:ext cx="4302125" cy="174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650" name="AutoShape 30"/>
          <p:cNvSpPr>
            <a:spLocks noChangeAspect="1" noChangeArrowheads="1" noTextEdit="1"/>
          </p:cNvSpPr>
          <p:nvPr/>
        </p:nvSpPr>
        <p:spPr bwMode="auto">
          <a:xfrm>
            <a:off x="5257800" y="4275138"/>
            <a:ext cx="554038" cy="55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9550400" y="373063"/>
            <a:ext cx="2074863" cy="10937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>
            <a:spAutoFit/>
          </a:bodyPr>
          <a:lstStyle/>
          <a:p>
            <a:pPr fontAlgn="auto">
              <a:spcBef>
                <a:spcPts val="60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bg-BG" sz="1400" dirty="0">
                <a:solidFill>
                  <a:srgbClr val="595959"/>
                </a:solidFill>
                <a:sym typeface="PT Sans Caption" panose="020B0603020203020204" pitchFamily="34" charset="0"/>
              </a:rPr>
              <a:t>Разработка ПО</a:t>
            </a:r>
          </a:p>
          <a:p>
            <a:pPr fontAlgn="auto">
              <a:spcBef>
                <a:spcPts val="60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bg-BG" sz="1400" dirty="0">
                <a:solidFill>
                  <a:srgbClr val="595959"/>
                </a:solidFill>
                <a:sym typeface="PT Sans Caption" panose="020B0603020203020204" pitchFamily="34" charset="0"/>
              </a:rPr>
              <a:t>Массовое обслуживание</a:t>
            </a:r>
          </a:p>
          <a:p>
            <a:pPr fontAlgn="auto">
              <a:spcBef>
                <a:spcPts val="60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bg-BG" sz="1400" dirty="0">
                <a:solidFill>
                  <a:srgbClr val="595959"/>
                </a:solidFill>
                <a:sym typeface="PT Sans Caption" panose="020B0603020203020204" pitchFamily="34" charset="0"/>
              </a:rPr>
              <a:t>Большие данные</a:t>
            </a:r>
          </a:p>
          <a:p>
            <a:pPr fontAlgn="auto">
              <a:spcBef>
                <a:spcPts val="60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bg-BG" sz="1400" dirty="0">
                <a:solidFill>
                  <a:srgbClr val="595959"/>
                </a:solidFill>
                <a:sym typeface="PT Sans Caption" panose="020B0603020203020204" pitchFamily="34" charset="0"/>
              </a:rPr>
              <a:t>Фискальные накопители</a:t>
            </a:r>
          </a:p>
        </p:txBody>
      </p:sp>
      <p:cxnSp>
        <p:nvCxnSpPr>
          <p:cNvPr id="42" name="Straight Connector 41"/>
          <p:cNvCxnSpPr/>
          <p:nvPr/>
        </p:nvCxnSpPr>
        <p:spPr>
          <a:xfrm>
            <a:off x="8501063" y="346075"/>
            <a:ext cx="0" cy="1666875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 flipV="1">
            <a:off x="8099425" y="1208088"/>
            <a:ext cx="401638" cy="0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9654" name="Picture 43"/>
          <p:cNvPicPr>
            <a:picLocks noChangeAspect="1"/>
          </p:cNvPicPr>
          <p:nvPr/>
        </p:nvPicPr>
        <p:blipFill>
          <a:blip r:embed="rId8">
            <a:grayscl/>
          </a:blip>
          <a:srcRect/>
          <a:stretch>
            <a:fillRect/>
          </a:stretch>
        </p:blipFill>
        <p:spPr bwMode="auto">
          <a:xfrm>
            <a:off x="8880475" y="2111375"/>
            <a:ext cx="4953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55" name="Picture 44"/>
          <p:cNvPicPr>
            <a:picLocks noChangeAspect="1"/>
          </p:cNvPicPr>
          <p:nvPr/>
        </p:nvPicPr>
        <p:blipFill>
          <a:blip r:embed="rId9">
            <a:grayscl/>
          </a:blip>
          <a:srcRect/>
          <a:stretch>
            <a:fillRect/>
          </a:stretch>
        </p:blipFill>
        <p:spPr bwMode="auto">
          <a:xfrm>
            <a:off x="8913813" y="3116263"/>
            <a:ext cx="461962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56" name="Picture 45"/>
          <p:cNvPicPr>
            <a:picLocks noChangeAspect="1"/>
          </p:cNvPicPr>
          <p:nvPr/>
        </p:nvPicPr>
        <p:blipFill>
          <a:blip r:embed="rId10">
            <a:grayscl/>
          </a:blip>
          <a:srcRect/>
          <a:stretch>
            <a:fillRect/>
          </a:stretch>
        </p:blipFill>
        <p:spPr bwMode="auto">
          <a:xfrm>
            <a:off x="8561388" y="681038"/>
            <a:ext cx="858837" cy="236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57" name="Picture 47"/>
          <p:cNvPicPr>
            <a:picLocks noChangeAspect="1"/>
          </p:cNvPicPr>
          <p:nvPr/>
        </p:nvPicPr>
        <p:blipFill>
          <a:blip r:embed="rId11">
            <a:grayscl/>
          </a:blip>
          <a:srcRect/>
          <a:stretch>
            <a:fillRect/>
          </a:stretch>
        </p:blipFill>
        <p:spPr bwMode="auto">
          <a:xfrm>
            <a:off x="8561388" y="987425"/>
            <a:ext cx="8588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58" name="Picture 48"/>
          <p:cNvPicPr>
            <a:picLocks noChangeAspect="1"/>
          </p:cNvPicPr>
          <p:nvPr/>
        </p:nvPicPr>
        <p:blipFill>
          <a:blip r:embed="rId12">
            <a:grayscl/>
          </a:blip>
          <a:srcRect/>
          <a:stretch>
            <a:fillRect/>
          </a:stretch>
        </p:blipFill>
        <p:spPr bwMode="auto">
          <a:xfrm>
            <a:off x="8570913" y="1368425"/>
            <a:ext cx="858837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9659" name="Picture 50"/>
          <p:cNvPicPr>
            <a:picLocks noChangeAspect="1"/>
          </p:cNvPicPr>
          <p:nvPr/>
        </p:nvPicPr>
        <p:blipFill>
          <a:blip r:embed="rId13">
            <a:grayscl/>
          </a:blip>
          <a:srcRect/>
          <a:stretch>
            <a:fillRect/>
          </a:stretch>
        </p:blipFill>
        <p:spPr bwMode="auto">
          <a:xfrm>
            <a:off x="8561388" y="363538"/>
            <a:ext cx="858837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Rectangle 52"/>
          <p:cNvSpPr/>
          <p:nvPr/>
        </p:nvSpPr>
        <p:spPr>
          <a:xfrm>
            <a:off x="11131550" y="6211888"/>
            <a:ext cx="923925" cy="487362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bg-BG" sz="1200" dirty="0">
              <a:solidFill>
                <a:srgbClr val="FFFFFF"/>
              </a:solidFill>
              <a:sym typeface="PT Sans Caption" panose="020B0603020203020204" pitchFamily="34" charset="0"/>
            </a:endParaRPr>
          </a:p>
        </p:txBody>
      </p:sp>
      <p:grpSp>
        <p:nvGrpSpPr>
          <p:cNvPr id="69661" name="Group 51"/>
          <p:cNvGrpSpPr>
            <a:grpSpLocks noChangeAspect="1"/>
          </p:cNvGrpSpPr>
          <p:nvPr/>
        </p:nvGrpSpPr>
        <p:grpSpPr bwMode="auto">
          <a:xfrm>
            <a:off x="4835525" y="857250"/>
            <a:ext cx="684213" cy="684213"/>
            <a:chOff x="5273801" y="2606040"/>
            <a:chExt cx="1644396" cy="1645920"/>
          </a:xfrm>
        </p:grpSpPr>
        <p:sp>
          <p:nvSpPr>
            <p:cNvPr id="69681" name="AutoShape 13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69682" name="Group 54"/>
            <p:cNvGrpSpPr>
              <a:grpSpLocks/>
            </p:cNvGrpSpPr>
            <p:nvPr/>
          </p:nvGrpSpPr>
          <p:grpSpPr bwMode="auto">
            <a:xfrm>
              <a:off x="5532119" y="2838831"/>
              <a:ext cx="1148334" cy="1240917"/>
              <a:chOff x="5532119" y="2838831"/>
              <a:chExt cx="1148334" cy="1240917"/>
            </a:xfrm>
          </p:grpSpPr>
          <p:sp>
            <p:nvSpPr>
              <p:cNvPr id="69683" name="Freeform 15"/>
              <p:cNvSpPr>
                <a:spLocks noEditPoints="1"/>
              </p:cNvSpPr>
              <p:nvPr/>
            </p:nvSpPr>
            <p:spPr bwMode="auto">
              <a:xfrm>
                <a:off x="5706998" y="2838831"/>
                <a:ext cx="938403" cy="951738"/>
              </a:xfrm>
              <a:custGeom>
                <a:avLst/>
                <a:gdLst>
                  <a:gd name="T0" fmla="*/ 847774 w 1315"/>
                  <a:gd name="T1" fmla="*/ 345827 h 1332"/>
                  <a:gd name="T2" fmla="*/ 469558 w 1315"/>
                  <a:gd name="T3" fmla="*/ 624489 h 1332"/>
                  <a:gd name="T4" fmla="*/ 397483 w 1315"/>
                  <a:gd name="T5" fmla="*/ 627347 h 1332"/>
                  <a:gd name="T6" fmla="*/ 266178 w 1315"/>
                  <a:gd name="T7" fmla="*/ 761676 h 1332"/>
                  <a:gd name="T8" fmla="*/ 266892 w 1315"/>
                  <a:gd name="T9" fmla="*/ 946022 h 1332"/>
                  <a:gd name="T10" fmla="*/ 52807 w 1315"/>
                  <a:gd name="T11" fmla="*/ 505164 h 1332"/>
                  <a:gd name="T12" fmla="*/ 93484 w 1315"/>
                  <a:gd name="T13" fmla="*/ 529458 h 1332"/>
                  <a:gd name="T14" fmla="*/ 154141 w 1315"/>
                  <a:gd name="T15" fmla="*/ 513024 h 1332"/>
                  <a:gd name="T16" fmla="*/ 211943 w 1315"/>
                  <a:gd name="T17" fmla="*/ 485872 h 1332"/>
                  <a:gd name="T18" fmla="*/ 259042 w 1315"/>
                  <a:gd name="T19" fmla="*/ 446574 h 1332"/>
                  <a:gd name="T20" fmla="*/ 295436 w 1315"/>
                  <a:gd name="T21" fmla="*/ 394414 h 1332"/>
                  <a:gd name="T22" fmla="*/ 322554 w 1315"/>
                  <a:gd name="T23" fmla="*/ 337252 h 1332"/>
                  <a:gd name="T24" fmla="*/ 295436 w 1315"/>
                  <a:gd name="T25" fmla="*/ 299383 h 1332"/>
                  <a:gd name="T26" fmla="*/ 352525 w 1315"/>
                  <a:gd name="T27" fmla="*/ 290809 h 1332"/>
                  <a:gd name="T28" fmla="*/ 390347 w 1315"/>
                  <a:gd name="T29" fmla="*/ 284378 h 1332"/>
                  <a:gd name="T30" fmla="*/ 443868 w 1315"/>
                  <a:gd name="T31" fmla="*/ 307243 h 1332"/>
                  <a:gd name="T32" fmla="*/ 490253 w 1315"/>
                  <a:gd name="T33" fmla="*/ 293667 h 1332"/>
                  <a:gd name="T34" fmla="*/ 493108 w 1315"/>
                  <a:gd name="T35" fmla="*/ 292238 h 1332"/>
                  <a:gd name="T36" fmla="*/ 535211 w 1315"/>
                  <a:gd name="T37" fmla="*/ 267230 h 1332"/>
                  <a:gd name="T38" fmla="*/ 555192 w 1315"/>
                  <a:gd name="T39" fmla="*/ 212212 h 1332"/>
                  <a:gd name="T40" fmla="*/ 584450 w 1315"/>
                  <a:gd name="T41" fmla="*/ 190062 h 1332"/>
                  <a:gd name="T42" fmla="*/ 911999 w 1315"/>
                  <a:gd name="T43" fmla="*/ 205781 h 1332"/>
                  <a:gd name="T44" fmla="*/ 560901 w 1315"/>
                  <a:gd name="T45" fmla="*/ 122183 h 1332"/>
                  <a:gd name="T46" fmla="*/ 533784 w 1315"/>
                  <a:gd name="T47" fmla="*/ 186489 h 1332"/>
                  <a:gd name="T48" fmla="*/ 503812 w 1315"/>
                  <a:gd name="T49" fmla="*/ 250081 h 1332"/>
                  <a:gd name="T50" fmla="*/ 452432 w 1315"/>
                  <a:gd name="T51" fmla="*/ 272946 h 1332"/>
                  <a:gd name="T52" fmla="*/ 386065 w 1315"/>
                  <a:gd name="T53" fmla="*/ 250796 h 1332"/>
                  <a:gd name="T54" fmla="*/ 320413 w 1315"/>
                  <a:gd name="T55" fmla="*/ 227217 h 1332"/>
                  <a:gd name="T56" fmla="*/ 315418 w 1315"/>
                  <a:gd name="T57" fmla="*/ 184346 h 1332"/>
                  <a:gd name="T58" fmla="*/ 287587 w 1315"/>
                  <a:gd name="T59" fmla="*/ 149334 h 1332"/>
                  <a:gd name="T60" fmla="*/ 317558 w 1315"/>
                  <a:gd name="T61" fmla="*/ 82884 h 1332"/>
                  <a:gd name="T62" fmla="*/ 344676 w 1315"/>
                  <a:gd name="T63" fmla="*/ 23579 h 1332"/>
                  <a:gd name="T64" fmla="*/ 398197 w 1315"/>
                  <a:gd name="T65" fmla="*/ 0 h 1332"/>
                  <a:gd name="T66" fmla="*/ 459568 w 1315"/>
                  <a:gd name="T67" fmla="*/ 21436 h 1332"/>
                  <a:gd name="T68" fmla="*/ 526647 w 1315"/>
                  <a:gd name="T69" fmla="*/ 44300 h 1332"/>
                  <a:gd name="T70" fmla="*/ 534497 w 1315"/>
                  <a:gd name="T71" fmla="*/ 88600 h 1332"/>
                  <a:gd name="T72" fmla="*/ 560901 w 1315"/>
                  <a:gd name="T73" fmla="*/ 122183 h 1332"/>
                  <a:gd name="T74" fmla="*/ 479549 w 1315"/>
                  <a:gd name="T75" fmla="*/ 112179 h 1332"/>
                  <a:gd name="T76" fmla="*/ 369652 w 1315"/>
                  <a:gd name="T77" fmla="*/ 160767 h 1332"/>
                  <a:gd name="T78" fmla="*/ 125596 w 1315"/>
                  <a:gd name="T79" fmla="*/ 260799 h 1332"/>
                  <a:gd name="T80" fmla="*/ 0 w 1315"/>
                  <a:gd name="T81" fmla="*/ 260799 h 1332"/>
                  <a:gd name="T82" fmla="*/ 125596 w 1315"/>
                  <a:gd name="T83" fmla="*/ 260799 h 1332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315"/>
                  <a:gd name="T127" fmla="*/ 0 h 1332"/>
                  <a:gd name="T128" fmla="*/ 1315 w 1315"/>
                  <a:gd name="T129" fmla="*/ 1332 h 1332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315" h="1332">
                    <a:moveTo>
                      <a:pt x="1192" y="480"/>
                    </a:moveTo>
                    <a:cubicBezTo>
                      <a:pt x="1191" y="482"/>
                      <a:pt x="1190" y="483"/>
                      <a:pt x="1188" y="484"/>
                    </a:cubicBezTo>
                    <a:cubicBezTo>
                      <a:pt x="1149" y="497"/>
                      <a:pt x="936" y="471"/>
                      <a:pt x="793" y="575"/>
                    </a:cubicBezTo>
                    <a:cubicBezTo>
                      <a:pt x="716" y="630"/>
                      <a:pt x="658" y="720"/>
                      <a:pt x="658" y="874"/>
                    </a:cubicBezTo>
                    <a:cubicBezTo>
                      <a:pt x="658" y="895"/>
                      <a:pt x="581" y="885"/>
                      <a:pt x="562" y="883"/>
                    </a:cubicBezTo>
                    <a:cubicBezTo>
                      <a:pt x="560" y="882"/>
                      <a:pt x="558" y="881"/>
                      <a:pt x="557" y="878"/>
                    </a:cubicBezTo>
                    <a:cubicBezTo>
                      <a:pt x="553" y="846"/>
                      <a:pt x="517" y="642"/>
                      <a:pt x="374" y="718"/>
                    </a:cubicBezTo>
                    <a:cubicBezTo>
                      <a:pt x="238" y="787"/>
                      <a:pt x="364" y="1046"/>
                      <a:pt x="373" y="1066"/>
                    </a:cubicBezTo>
                    <a:cubicBezTo>
                      <a:pt x="374" y="1066"/>
                      <a:pt x="374" y="1067"/>
                      <a:pt x="374" y="1068"/>
                    </a:cubicBezTo>
                    <a:cubicBezTo>
                      <a:pt x="374" y="1324"/>
                      <a:pt x="374" y="1324"/>
                      <a:pt x="374" y="1324"/>
                    </a:cubicBezTo>
                    <a:cubicBezTo>
                      <a:pt x="374" y="1329"/>
                      <a:pt x="368" y="1332"/>
                      <a:pt x="365" y="1328"/>
                    </a:cubicBezTo>
                    <a:cubicBezTo>
                      <a:pt x="310" y="1278"/>
                      <a:pt x="39" y="1009"/>
                      <a:pt x="74" y="707"/>
                    </a:cubicBezTo>
                    <a:cubicBezTo>
                      <a:pt x="88" y="691"/>
                      <a:pt x="88" y="691"/>
                      <a:pt x="88" y="691"/>
                    </a:cubicBezTo>
                    <a:cubicBezTo>
                      <a:pt x="131" y="741"/>
                      <a:pt x="131" y="741"/>
                      <a:pt x="131" y="741"/>
                    </a:cubicBezTo>
                    <a:cubicBezTo>
                      <a:pt x="170" y="732"/>
                      <a:pt x="170" y="732"/>
                      <a:pt x="170" y="732"/>
                    </a:cubicBezTo>
                    <a:cubicBezTo>
                      <a:pt x="192" y="727"/>
                      <a:pt x="215" y="718"/>
                      <a:pt x="216" y="718"/>
                    </a:cubicBezTo>
                    <a:cubicBezTo>
                      <a:pt x="218" y="717"/>
                      <a:pt x="241" y="709"/>
                      <a:pt x="261" y="698"/>
                    </a:cubicBezTo>
                    <a:cubicBezTo>
                      <a:pt x="297" y="680"/>
                      <a:pt x="297" y="680"/>
                      <a:pt x="297" y="680"/>
                    </a:cubicBezTo>
                    <a:cubicBezTo>
                      <a:pt x="298" y="614"/>
                      <a:pt x="298" y="614"/>
                      <a:pt x="298" y="614"/>
                    </a:cubicBezTo>
                    <a:cubicBezTo>
                      <a:pt x="363" y="625"/>
                      <a:pt x="363" y="625"/>
                      <a:pt x="363" y="625"/>
                    </a:cubicBezTo>
                    <a:cubicBezTo>
                      <a:pt x="387" y="593"/>
                      <a:pt x="387" y="593"/>
                      <a:pt x="387" y="593"/>
                    </a:cubicBezTo>
                    <a:cubicBezTo>
                      <a:pt x="400" y="576"/>
                      <a:pt x="412" y="555"/>
                      <a:pt x="414" y="552"/>
                    </a:cubicBezTo>
                    <a:cubicBezTo>
                      <a:pt x="415" y="550"/>
                      <a:pt x="427" y="529"/>
                      <a:pt x="436" y="509"/>
                    </a:cubicBezTo>
                    <a:cubicBezTo>
                      <a:pt x="452" y="472"/>
                      <a:pt x="452" y="472"/>
                      <a:pt x="452" y="472"/>
                    </a:cubicBezTo>
                    <a:cubicBezTo>
                      <a:pt x="413" y="424"/>
                      <a:pt x="413" y="424"/>
                      <a:pt x="413" y="424"/>
                    </a:cubicBezTo>
                    <a:cubicBezTo>
                      <a:pt x="413" y="422"/>
                      <a:pt x="413" y="420"/>
                      <a:pt x="414" y="419"/>
                    </a:cubicBezTo>
                    <a:cubicBezTo>
                      <a:pt x="464" y="389"/>
                      <a:pt x="464" y="389"/>
                      <a:pt x="464" y="389"/>
                    </a:cubicBezTo>
                    <a:cubicBezTo>
                      <a:pt x="473" y="395"/>
                      <a:pt x="483" y="401"/>
                      <a:pt x="494" y="407"/>
                    </a:cubicBezTo>
                    <a:cubicBezTo>
                      <a:pt x="515" y="417"/>
                      <a:pt x="515" y="417"/>
                      <a:pt x="515" y="417"/>
                    </a:cubicBezTo>
                    <a:cubicBezTo>
                      <a:pt x="547" y="398"/>
                      <a:pt x="547" y="398"/>
                      <a:pt x="547" y="398"/>
                    </a:cubicBezTo>
                    <a:cubicBezTo>
                      <a:pt x="562" y="402"/>
                      <a:pt x="578" y="404"/>
                      <a:pt x="593" y="404"/>
                    </a:cubicBezTo>
                    <a:cubicBezTo>
                      <a:pt x="622" y="430"/>
                      <a:pt x="622" y="430"/>
                      <a:pt x="622" y="430"/>
                    </a:cubicBezTo>
                    <a:cubicBezTo>
                      <a:pt x="644" y="424"/>
                      <a:pt x="644" y="424"/>
                      <a:pt x="644" y="424"/>
                    </a:cubicBezTo>
                    <a:cubicBezTo>
                      <a:pt x="659" y="421"/>
                      <a:pt x="674" y="416"/>
                      <a:pt x="687" y="411"/>
                    </a:cubicBezTo>
                    <a:cubicBezTo>
                      <a:pt x="689" y="410"/>
                      <a:pt x="689" y="410"/>
                      <a:pt x="689" y="410"/>
                    </a:cubicBezTo>
                    <a:cubicBezTo>
                      <a:pt x="691" y="409"/>
                      <a:pt x="691" y="409"/>
                      <a:pt x="691" y="409"/>
                    </a:cubicBezTo>
                    <a:cubicBezTo>
                      <a:pt x="704" y="403"/>
                      <a:pt x="717" y="396"/>
                      <a:pt x="730" y="387"/>
                    </a:cubicBezTo>
                    <a:cubicBezTo>
                      <a:pt x="750" y="374"/>
                      <a:pt x="750" y="374"/>
                      <a:pt x="750" y="374"/>
                    </a:cubicBezTo>
                    <a:cubicBezTo>
                      <a:pt x="750" y="336"/>
                      <a:pt x="750" y="336"/>
                      <a:pt x="750" y="336"/>
                    </a:cubicBezTo>
                    <a:cubicBezTo>
                      <a:pt x="761" y="324"/>
                      <a:pt x="770" y="311"/>
                      <a:pt x="778" y="297"/>
                    </a:cubicBezTo>
                    <a:cubicBezTo>
                      <a:pt x="812" y="287"/>
                      <a:pt x="812" y="287"/>
                      <a:pt x="812" y="287"/>
                    </a:cubicBezTo>
                    <a:cubicBezTo>
                      <a:pt x="819" y="266"/>
                      <a:pt x="819" y="266"/>
                      <a:pt x="819" y="266"/>
                    </a:cubicBezTo>
                    <a:cubicBezTo>
                      <a:pt x="826" y="247"/>
                      <a:pt x="830" y="227"/>
                      <a:pt x="831" y="206"/>
                    </a:cubicBezTo>
                    <a:cubicBezTo>
                      <a:pt x="1027" y="228"/>
                      <a:pt x="990" y="293"/>
                      <a:pt x="1278" y="288"/>
                    </a:cubicBezTo>
                    <a:cubicBezTo>
                      <a:pt x="1315" y="288"/>
                      <a:pt x="1210" y="404"/>
                      <a:pt x="1192" y="480"/>
                    </a:cubicBezTo>
                    <a:close/>
                    <a:moveTo>
                      <a:pt x="786" y="171"/>
                    </a:moveTo>
                    <a:cubicBezTo>
                      <a:pt x="789" y="198"/>
                      <a:pt x="786" y="226"/>
                      <a:pt x="778" y="251"/>
                    </a:cubicBezTo>
                    <a:cubicBezTo>
                      <a:pt x="778" y="251"/>
                      <a:pt x="778" y="251"/>
                      <a:pt x="748" y="261"/>
                    </a:cubicBezTo>
                    <a:cubicBezTo>
                      <a:pt x="738" y="282"/>
                      <a:pt x="724" y="302"/>
                      <a:pt x="706" y="318"/>
                    </a:cubicBezTo>
                    <a:cubicBezTo>
                      <a:pt x="706" y="318"/>
                      <a:pt x="706" y="318"/>
                      <a:pt x="706" y="350"/>
                    </a:cubicBezTo>
                    <a:cubicBezTo>
                      <a:pt x="695" y="357"/>
                      <a:pt x="683" y="364"/>
                      <a:pt x="671" y="370"/>
                    </a:cubicBezTo>
                    <a:cubicBezTo>
                      <a:pt x="659" y="375"/>
                      <a:pt x="646" y="379"/>
                      <a:pt x="634" y="382"/>
                    </a:cubicBezTo>
                    <a:cubicBezTo>
                      <a:pt x="634" y="382"/>
                      <a:pt x="634" y="382"/>
                      <a:pt x="610" y="360"/>
                    </a:cubicBezTo>
                    <a:cubicBezTo>
                      <a:pt x="586" y="362"/>
                      <a:pt x="563" y="359"/>
                      <a:pt x="541" y="351"/>
                    </a:cubicBezTo>
                    <a:cubicBezTo>
                      <a:pt x="541" y="351"/>
                      <a:pt x="541" y="351"/>
                      <a:pt x="513" y="367"/>
                    </a:cubicBezTo>
                    <a:cubicBezTo>
                      <a:pt x="489" y="355"/>
                      <a:pt x="468" y="339"/>
                      <a:pt x="449" y="318"/>
                    </a:cubicBezTo>
                    <a:cubicBezTo>
                      <a:pt x="449" y="318"/>
                      <a:pt x="449" y="318"/>
                      <a:pt x="457" y="287"/>
                    </a:cubicBezTo>
                    <a:cubicBezTo>
                      <a:pt x="451" y="278"/>
                      <a:pt x="446" y="268"/>
                      <a:pt x="442" y="258"/>
                    </a:cubicBezTo>
                    <a:cubicBezTo>
                      <a:pt x="436" y="247"/>
                      <a:pt x="433" y="235"/>
                      <a:pt x="431" y="225"/>
                    </a:cubicBezTo>
                    <a:cubicBezTo>
                      <a:pt x="431" y="225"/>
                      <a:pt x="431" y="225"/>
                      <a:pt x="403" y="209"/>
                    </a:cubicBezTo>
                    <a:cubicBezTo>
                      <a:pt x="401" y="180"/>
                      <a:pt x="405" y="152"/>
                      <a:pt x="414" y="126"/>
                    </a:cubicBezTo>
                    <a:cubicBezTo>
                      <a:pt x="414" y="126"/>
                      <a:pt x="414" y="126"/>
                      <a:pt x="445" y="116"/>
                    </a:cubicBezTo>
                    <a:cubicBezTo>
                      <a:pt x="454" y="97"/>
                      <a:pt x="467" y="81"/>
                      <a:pt x="483" y="66"/>
                    </a:cubicBezTo>
                    <a:cubicBezTo>
                      <a:pt x="483" y="66"/>
                      <a:pt x="483" y="66"/>
                      <a:pt x="483" y="33"/>
                    </a:cubicBezTo>
                    <a:cubicBezTo>
                      <a:pt x="494" y="25"/>
                      <a:pt x="506" y="18"/>
                      <a:pt x="519" y="13"/>
                    </a:cubicBezTo>
                    <a:cubicBezTo>
                      <a:pt x="532" y="7"/>
                      <a:pt x="546" y="3"/>
                      <a:pt x="558" y="0"/>
                    </a:cubicBezTo>
                    <a:cubicBezTo>
                      <a:pt x="558" y="0"/>
                      <a:pt x="558" y="0"/>
                      <a:pt x="583" y="22"/>
                    </a:cubicBezTo>
                    <a:cubicBezTo>
                      <a:pt x="604" y="21"/>
                      <a:pt x="624" y="23"/>
                      <a:pt x="644" y="30"/>
                    </a:cubicBezTo>
                    <a:cubicBezTo>
                      <a:pt x="644" y="30"/>
                      <a:pt x="644" y="30"/>
                      <a:pt x="673" y="14"/>
                    </a:cubicBezTo>
                    <a:cubicBezTo>
                      <a:pt x="697" y="24"/>
                      <a:pt x="720" y="41"/>
                      <a:pt x="738" y="62"/>
                    </a:cubicBezTo>
                    <a:cubicBezTo>
                      <a:pt x="738" y="62"/>
                      <a:pt x="738" y="62"/>
                      <a:pt x="732" y="93"/>
                    </a:cubicBezTo>
                    <a:cubicBezTo>
                      <a:pt x="738" y="103"/>
                      <a:pt x="744" y="113"/>
                      <a:pt x="749" y="124"/>
                    </a:cubicBezTo>
                    <a:cubicBezTo>
                      <a:pt x="753" y="134"/>
                      <a:pt x="756" y="144"/>
                      <a:pt x="759" y="154"/>
                    </a:cubicBezTo>
                    <a:cubicBezTo>
                      <a:pt x="759" y="154"/>
                      <a:pt x="759" y="154"/>
                      <a:pt x="786" y="171"/>
                    </a:cubicBezTo>
                    <a:close/>
                    <a:moveTo>
                      <a:pt x="629" y="269"/>
                    </a:moveTo>
                    <a:cubicBezTo>
                      <a:pt x="671" y="251"/>
                      <a:pt x="691" y="200"/>
                      <a:pt x="672" y="157"/>
                    </a:cubicBezTo>
                    <a:cubicBezTo>
                      <a:pt x="654" y="114"/>
                      <a:pt x="604" y="95"/>
                      <a:pt x="561" y="113"/>
                    </a:cubicBezTo>
                    <a:cubicBezTo>
                      <a:pt x="519" y="132"/>
                      <a:pt x="499" y="181"/>
                      <a:pt x="518" y="225"/>
                    </a:cubicBezTo>
                    <a:cubicBezTo>
                      <a:pt x="536" y="268"/>
                      <a:pt x="586" y="288"/>
                      <a:pt x="629" y="269"/>
                    </a:cubicBezTo>
                    <a:close/>
                    <a:moveTo>
                      <a:pt x="176" y="365"/>
                    </a:moveTo>
                    <a:cubicBezTo>
                      <a:pt x="176" y="316"/>
                      <a:pt x="137" y="277"/>
                      <a:pt x="88" y="277"/>
                    </a:cubicBezTo>
                    <a:cubicBezTo>
                      <a:pt x="39" y="277"/>
                      <a:pt x="0" y="316"/>
                      <a:pt x="0" y="365"/>
                    </a:cubicBezTo>
                    <a:cubicBezTo>
                      <a:pt x="0" y="414"/>
                      <a:pt x="39" y="454"/>
                      <a:pt x="88" y="454"/>
                    </a:cubicBezTo>
                    <a:cubicBezTo>
                      <a:pt x="137" y="454"/>
                      <a:pt x="176" y="414"/>
                      <a:pt x="176" y="365"/>
                    </a:cubicBezTo>
                    <a:close/>
                  </a:path>
                </a:pathLst>
              </a:custGeom>
              <a:solidFill>
                <a:srgbClr val="98A6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684" name="Freeform 16"/>
              <p:cNvSpPr>
                <a:spLocks noEditPoints="1"/>
              </p:cNvSpPr>
              <p:nvPr/>
            </p:nvSpPr>
            <p:spPr bwMode="auto">
              <a:xfrm>
                <a:off x="5532119" y="2860929"/>
                <a:ext cx="1148334" cy="1218819"/>
              </a:xfrm>
              <a:custGeom>
                <a:avLst/>
                <a:gdLst>
                  <a:gd name="T0" fmla="*/ 1040566 w 1609"/>
                  <a:gd name="T1" fmla="*/ 765870 h 1706"/>
                  <a:gd name="T2" fmla="*/ 1019155 w 1609"/>
                  <a:gd name="T3" fmla="*/ 1015206 h 1706"/>
                  <a:gd name="T4" fmla="*/ 802192 w 1609"/>
                  <a:gd name="T5" fmla="*/ 1218819 h 1706"/>
                  <a:gd name="T6" fmla="*/ 409661 w 1609"/>
                  <a:gd name="T7" fmla="*/ 1137374 h 1706"/>
                  <a:gd name="T8" fmla="*/ 413229 w 1609"/>
                  <a:gd name="T9" fmla="*/ 949479 h 1706"/>
                  <a:gd name="T10" fmla="*/ 786491 w 1609"/>
                  <a:gd name="T11" fmla="*/ 1187384 h 1706"/>
                  <a:gd name="T12" fmla="*/ 804333 w 1609"/>
                  <a:gd name="T13" fmla="*/ 991630 h 1706"/>
                  <a:gd name="T14" fmla="*/ 1016301 w 1609"/>
                  <a:gd name="T15" fmla="*/ 905184 h 1706"/>
                  <a:gd name="T16" fmla="*/ 1024865 w 1609"/>
                  <a:gd name="T17" fmla="*/ 733721 h 1706"/>
                  <a:gd name="T18" fmla="*/ 1064832 w 1609"/>
                  <a:gd name="T19" fmla="*/ 650132 h 1706"/>
                  <a:gd name="T20" fmla="*/ 1000599 w 1609"/>
                  <a:gd name="T21" fmla="*/ 450091 h 1706"/>
                  <a:gd name="T22" fmla="*/ 1030574 w 1609"/>
                  <a:gd name="T23" fmla="*/ 440089 h 1706"/>
                  <a:gd name="T24" fmla="*/ 1088384 w 1609"/>
                  <a:gd name="T25" fmla="*/ 628699 h 1706"/>
                  <a:gd name="T26" fmla="*/ 289046 w 1609"/>
                  <a:gd name="T27" fmla="*/ 470096 h 1706"/>
                  <a:gd name="T28" fmla="*/ 355420 w 1609"/>
                  <a:gd name="T29" fmla="*/ 444376 h 1706"/>
                  <a:gd name="T30" fmla="*/ 420366 w 1609"/>
                  <a:gd name="T31" fmla="*/ 390079 h 1706"/>
                  <a:gd name="T32" fmla="*/ 456764 w 1609"/>
                  <a:gd name="T33" fmla="*/ 328638 h 1706"/>
                  <a:gd name="T34" fmla="*/ 441063 w 1609"/>
                  <a:gd name="T35" fmla="*/ 257195 h 1706"/>
                  <a:gd name="T36" fmla="*/ 471038 w 1609"/>
                  <a:gd name="T37" fmla="*/ 196469 h 1706"/>
                  <a:gd name="T38" fmla="*/ 419652 w 1609"/>
                  <a:gd name="T39" fmla="*/ 149316 h 1706"/>
                  <a:gd name="T40" fmla="*/ 413229 w 1609"/>
                  <a:gd name="T41" fmla="*/ 77159 h 1706"/>
                  <a:gd name="T42" fmla="*/ 357561 w 1609"/>
                  <a:gd name="T43" fmla="*/ 32149 h 1706"/>
                  <a:gd name="T44" fmla="*/ 278341 w 1609"/>
                  <a:gd name="T45" fmla="*/ 2858 h 1706"/>
                  <a:gd name="T46" fmla="*/ 206971 w 1609"/>
                  <a:gd name="T47" fmla="*/ 2143 h 1706"/>
                  <a:gd name="T48" fmla="*/ 160581 w 1609"/>
                  <a:gd name="T49" fmla="*/ 55726 h 1706"/>
                  <a:gd name="T50" fmla="*/ 84930 w 1609"/>
                  <a:gd name="T51" fmla="*/ 55726 h 1706"/>
                  <a:gd name="T52" fmla="*/ 70656 w 1609"/>
                  <a:gd name="T53" fmla="*/ 125740 h 1706"/>
                  <a:gd name="T54" fmla="*/ 11419 w 1609"/>
                  <a:gd name="T55" fmla="*/ 165748 h 1706"/>
                  <a:gd name="T56" fmla="*/ 0 w 1609"/>
                  <a:gd name="T57" fmla="*/ 237191 h 1706"/>
                  <a:gd name="T58" fmla="*/ 14274 w 1609"/>
                  <a:gd name="T59" fmla="*/ 320065 h 1706"/>
                  <a:gd name="T60" fmla="*/ 49245 w 1609"/>
                  <a:gd name="T61" fmla="*/ 382221 h 1706"/>
                  <a:gd name="T62" fmla="*/ 118473 w 1609"/>
                  <a:gd name="T63" fmla="*/ 399367 h 1706"/>
                  <a:gd name="T64" fmla="*/ 156299 w 1609"/>
                  <a:gd name="T65" fmla="*/ 460808 h 1706"/>
                  <a:gd name="T66" fmla="*/ 226241 w 1609"/>
                  <a:gd name="T67" fmla="*/ 435803 h 1706"/>
                  <a:gd name="T68" fmla="*/ 289046 w 1609"/>
                  <a:gd name="T69" fmla="*/ 470096 h 1706"/>
                  <a:gd name="T70" fmla="*/ 213395 w 1609"/>
                  <a:gd name="T71" fmla="*/ 402939 h 1706"/>
                  <a:gd name="T72" fmla="*/ 150589 w 1609"/>
                  <a:gd name="T73" fmla="*/ 424372 h 1706"/>
                  <a:gd name="T74" fmla="*/ 114191 w 1609"/>
                  <a:gd name="T75" fmla="*/ 355072 h 1706"/>
                  <a:gd name="T76" fmla="*/ 59237 w 1609"/>
                  <a:gd name="T77" fmla="*/ 340783 h 1706"/>
                  <a:gd name="T78" fmla="*/ 72083 w 1609"/>
                  <a:gd name="T79" fmla="*/ 287201 h 1706"/>
                  <a:gd name="T80" fmla="*/ 32116 w 1609"/>
                  <a:gd name="T81" fmla="*/ 220045 h 1706"/>
                  <a:gd name="T82" fmla="*/ 77079 w 1609"/>
                  <a:gd name="T83" fmla="*/ 177179 h 1706"/>
                  <a:gd name="T84" fmla="*/ 105627 w 1609"/>
                  <a:gd name="T85" fmla="*/ 131455 h 1706"/>
                  <a:gd name="T86" fmla="*/ 119901 w 1609"/>
                  <a:gd name="T87" fmla="*/ 68585 h 1706"/>
                  <a:gd name="T88" fmla="*/ 195552 w 1609"/>
                  <a:gd name="T89" fmla="*/ 77873 h 1706"/>
                  <a:gd name="T90" fmla="*/ 237660 w 1609"/>
                  <a:gd name="T91" fmla="*/ 31435 h 1706"/>
                  <a:gd name="T92" fmla="*/ 280482 w 1609"/>
                  <a:gd name="T93" fmla="*/ 77873 h 1706"/>
                  <a:gd name="T94" fmla="*/ 356133 w 1609"/>
                  <a:gd name="T95" fmla="*/ 68585 h 1706"/>
                  <a:gd name="T96" fmla="*/ 369694 w 1609"/>
                  <a:gd name="T97" fmla="*/ 131455 h 1706"/>
                  <a:gd name="T98" fmla="*/ 398241 w 1609"/>
                  <a:gd name="T99" fmla="*/ 177179 h 1706"/>
                  <a:gd name="T100" fmla="*/ 442490 w 1609"/>
                  <a:gd name="T101" fmla="*/ 220045 h 1706"/>
                  <a:gd name="T102" fmla="*/ 403237 w 1609"/>
                  <a:gd name="T103" fmla="*/ 287916 h 1706"/>
                  <a:gd name="T104" fmla="*/ 416084 w 1609"/>
                  <a:gd name="T105" fmla="*/ 340783 h 1706"/>
                  <a:gd name="T106" fmla="*/ 361129 w 1609"/>
                  <a:gd name="T107" fmla="*/ 355072 h 1706"/>
                  <a:gd name="T108" fmla="*/ 324731 w 1609"/>
                  <a:gd name="T109" fmla="*/ 424372 h 1706"/>
                  <a:gd name="T110" fmla="*/ 261926 w 1609"/>
                  <a:gd name="T111" fmla="*/ 402939 h 1706"/>
                  <a:gd name="T112" fmla="*/ 237660 w 1609"/>
                  <a:gd name="T113" fmla="*/ 111451 h 1706"/>
                  <a:gd name="T114" fmla="*/ 364698 w 1609"/>
                  <a:gd name="T115" fmla="*/ 238620 h 1706"/>
                  <a:gd name="T116" fmla="*/ 142025 w 1609"/>
                  <a:gd name="T117" fmla="*/ 238620 h 170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609"/>
                  <a:gd name="T178" fmla="*/ 0 h 1706"/>
                  <a:gd name="T179" fmla="*/ 1609 w 1609"/>
                  <a:gd name="T180" fmla="*/ 1706 h 170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609" h="1706">
                    <a:moveTo>
                      <a:pt x="1599" y="1004"/>
                    </a:moveTo>
                    <a:cubicBezTo>
                      <a:pt x="1593" y="1021"/>
                      <a:pt x="1566" y="1072"/>
                      <a:pt x="1463" y="1072"/>
                    </a:cubicBezTo>
                    <a:cubicBezTo>
                      <a:pt x="1462" y="1072"/>
                      <a:pt x="1460" y="1072"/>
                      <a:pt x="1458" y="1072"/>
                    </a:cubicBezTo>
                    <a:cubicBezTo>
                      <a:pt x="1463" y="1117"/>
                      <a:pt x="1472" y="1211"/>
                      <a:pt x="1468" y="1269"/>
                    </a:cubicBezTo>
                    <a:cubicBezTo>
                      <a:pt x="1467" y="1280"/>
                      <a:pt x="1467" y="1280"/>
                      <a:pt x="1467" y="1280"/>
                    </a:cubicBezTo>
                    <a:cubicBezTo>
                      <a:pt x="1462" y="1361"/>
                      <a:pt x="1459" y="1405"/>
                      <a:pt x="1428" y="1421"/>
                    </a:cubicBezTo>
                    <a:cubicBezTo>
                      <a:pt x="1405" y="1434"/>
                      <a:pt x="1303" y="1453"/>
                      <a:pt x="1146" y="1435"/>
                    </a:cubicBezTo>
                    <a:cubicBezTo>
                      <a:pt x="1146" y="1684"/>
                      <a:pt x="1146" y="1684"/>
                      <a:pt x="1146" y="1684"/>
                    </a:cubicBezTo>
                    <a:cubicBezTo>
                      <a:pt x="1146" y="1696"/>
                      <a:pt x="1136" y="1706"/>
                      <a:pt x="1124" y="1706"/>
                    </a:cubicBezTo>
                    <a:cubicBezTo>
                      <a:pt x="1124" y="1706"/>
                      <a:pt x="1123" y="1706"/>
                      <a:pt x="1123" y="1706"/>
                    </a:cubicBezTo>
                    <a:cubicBezTo>
                      <a:pt x="1100" y="1706"/>
                      <a:pt x="812" y="1704"/>
                      <a:pt x="588" y="1612"/>
                    </a:cubicBezTo>
                    <a:cubicBezTo>
                      <a:pt x="580" y="1609"/>
                      <a:pt x="574" y="1601"/>
                      <a:pt x="574" y="1592"/>
                    </a:cubicBezTo>
                    <a:cubicBezTo>
                      <a:pt x="574" y="1326"/>
                      <a:pt x="574" y="1326"/>
                      <a:pt x="574" y="1326"/>
                    </a:cubicBezTo>
                    <a:cubicBezTo>
                      <a:pt x="574" y="1325"/>
                      <a:pt x="574" y="1325"/>
                      <a:pt x="574" y="1324"/>
                    </a:cubicBezTo>
                    <a:cubicBezTo>
                      <a:pt x="576" y="1326"/>
                      <a:pt x="578" y="1328"/>
                      <a:pt x="579" y="1329"/>
                    </a:cubicBezTo>
                    <a:cubicBezTo>
                      <a:pt x="585" y="1335"/>
                      <a:pt x="603" y="1349"/>
                      <a:pt x="618" y="1359"/>
                    </a:cubicBezTo>
                    <a:cubicBezTo>
                      <a:pt x="618" y="1577"/>
                      <a:pt x="618" y="1577"/>
                      <a:pt x="618" y="1577"/>
                    </a:cubicBezTo>
                    <a:cubicBezTo>
                      <a:pt x="801" y="1648"/>
                      <a:pt x="1031" y="1660"/>
                      <a:pt x="1102" y="1662"/>
                    </a:cubicBezTo>
                    <a:cubicBezTo>
                      <a:pt x="1102" y="1410"/>
                      <a:pt x="1102" y="1410"/>
                      <a:pt x="1102" y="1410"/>
                    </a:cubicBezTo>
                    <a:cubicBezTo>
                      <a:pt x="1102" y="1404"/>
                      <a:pt x="1105" y="1398"/>
                      <a:pt x="1109" y="1393"/>
                    </a:cubicBezTo>
                    <a:cubicBezTo>
                      <a:pt x="1114" y="1389"/>
                      <a:pt x="1120" y="1387"/>
                      <a:pt x="1127" y="1388"/>
                    </a:cubicBezTo>
                    <a:cubicBezTo>
                      <a:pt x="1290" y="1410"/>
                      <a:pt x="1393" y="1390"/>
                      <a:pt x="1408" y="1382"/>
                    </a:cubicBezTo>
                    <a:cubicBezTo>
                      <a:pt x="1417" y="1376"/>
                      <a:pt x="1420" y="1323"/>
                      <a:pt x="1423" y="1277"/>
                    </a:cubicBezTo>
                    <a:cubicBezTo>
                      <a:pt x="1424" y="1267"/>
                      <a:pt x="1424" y="1267"/>
                      <a:pt x="1424" y="1267"/>
                    </a:cubicBezTo>
                    <a:cubicBezTo>
                      <a:pt x="1429" y="1192"/>
                      <a:pt x="1412" y="1053"/>
                      <a:pt x="1412" y="1052"/>
                    </a:cubicBezTo>
                    <a:cubicBezTo>
                      <a:pt x="1411" y="1045"/>
                      <a:pt x="1413" y="1038"/>
                      <a:pt x="1418" y="1034"/>
                    </a:cubicBezTo>
                    <a:cubicBezTo>
                      <a:pt x="1423" y="1029"/>
                      <a:pt x="1429" y="1026"/>
                      <a:pt x="1436" y="1027"/>
                    </a:cubicBezTo>
                    <a:cubicBezTo>
                      <a:pt x="1512" y="1034"/>
                      <a:pt x="1548" y="1012"/>
                      <a:pt x="1557" y="991"/>
                    </a:cubicBezTo>
                    <a:cubicBezTo>
                      <a:pt x="1555" y="977"/>
                      <a:pt x="1521" y="941"/>
                      <a:pt x="1505" y="923"/>
                    </a:cubicBezTo>
                    <a:cubicBezTo>
                      <a:pt x="1501" y="919"/>
                      <a:pt x="1496" y="914"/>
                      <a:pt x="1492" y="910"/>
                    </a:cubicBezTo>
                    <a:cubicBezTo>
                      <a:pt x="1463" y="878"/>
                      <a:pt x="1439" y="820"/>
                      <a:pt x="1424" y="777"/>
                    </a:cubicBezTo>
                    <a:cubicBezTo>
                      <a:pt x="1418" y="760"/>
                      <a:pt x="1416" y="737"/>
                      <a:pt x="1414" y="709"/>
                    </a:cubicBezTo>
                    <a:cubicBezTo>
                      <a:pt x="1412" y="682"/>
                      <a:pt x="1409" y="652"/>
                      <a:pt x="1402" y="630"/>
                    </a:cubicBezTo>
                    <a:cubicBezTo>
                      <a:pt x="1389" y="591"/>
                      <a:pt x="1386" y="527"/>
                      <a:pt x="1386" y="502"/>
                    </a:cubicBezTo>
                    <a:cubicBezTo>
                      <a:pt x="1404" y="501"/>
                      <a:pt x="1418" y="500"/>
                      <a:pt x="1430" y="499"/>
                    </a:cubicBezTo>
                    <a:cubicBezTo>
                      <a:pt x="1430" y="520"/>
                      <a:pt x="1432" y="582"/>
                      <a:pt x="1444" y="616"/>
                    </a:cubicBezTo>
                    <a:cubicBezTo>
                      <a:pt x="1453" y="643"/>
                      <a:pt x="1455" y="676"/>
                      <a:pt x="1458" y="706"/>
                    </a:cubicBezTo>
                    <a:cubicBezTo>
                      <a:pt x="1460" y="728"/>
                      <a:pt x="1461" y="751"/>
                      <a:pt x="1466" y="763"/>
                    </a:cubicBezTo>
                    <a:cubicBezTo>
                      <a:pt x="1485" y="818"/>
                      <a:pt x="1506" y="859"/>
                      <a:pt x="1525" y="880"/>
                    </a:cubicBezTo>
                    <a:cubicBezTo>
                      <a:pt x="1529" y="884"/>
                      <a:pt x="1533" y="889"/>
                      <a:pt x="1537" y="893"/>
                    </a:cubicBezTo>
                    <a:cubicBezTo>
                      <a:pt x="1581" y="941"/>
                      <a:pt x="1609" y="974"/>
                      <a:pt x="1599" y="1004"/>
                    </a:cubicBezTo>
                    <a:close/>
                    <a:moveTo>
                      <a:pt x="405" y="658"/>
                    </a:moveTo>
                    <a:cubicBezTo>
                      <a:pt x="424" y="653"/>
                      <a:pt x="446" y="646"/>
                      <a:pt x="446" y="645"/>
                    </a:cubicBezTo>
                    <a:cubicBezTo>
                      <a:pt x="447" y="645"/>
                      <a:pt x="469" y="637"/>
                      <a:pt x="487" y="628"/>
                    </a:cubicBezTo>
                    <a:cubicBezTo>
                      <a:pt x="498" y="622"/>
                      <a:pt x="498" y="622"/>
                      <a:pt x="498" y="622"/>
                    </a:cubicBezTo>
                    <a:cubicBezTo>
                      <a:pt x="499" y="559"/>
                      <a:pt x="499" y="559"/>
                      <a:pt x="499" y="559"/>
                    </a:cubicBezTo>
                    <a:cubicBezTo>
                      <a:pt x="509" y="552"/>
                      <a:pt x="519" y="545"/>
                      <a:pt x="528" y="536"/>
                    </a:cubicBezTo>
                    <a:cubicBezTo>
                      <a:pt x="589" y="546"/>
                      <a:pt x="589" y="546"/>
                      <a:pt x="589" y="546"/>
                    </a:cubicBezTo>
                    <a:cubicBezTo>
                      <a:pt x="597" y="536"/>
                      <a:pt x="597" y="536"/>
                      <a:pt x="597" y="536"/>
                    </a:cubicBezTo>
                    <a:cubicBezTo>
                      <a:pt x="609" y="520"/>
                      <a:pt x="620" y="500"/>
                      <a:pt x="621" y="499"/>
                    </a:cubicBezTo>
                    <a:cubicBezTo>
                      <a:pt x="621" y="498"/>
                      <a:pt x="633" y="478"/>
                      <a:pt x="640" y="460"/>
                    </a:cubicBezTo>
                    <a:cubicBezTo>
                      <a:pt x="646" y="448"/>
                      <a:pt x="646" y="448"/>
                      <a:pt x="646" y="448"/>
                    </a:cubicBezTo>
                    <a:cubicBezTo>
                      <a:pt x="610" y="404"/>
                      <a:pt x="610" y="404"/>
                      <a:pt x="610" y="404"/>
                    </a:cubicBezTo>
                    <a:cubicBezTo>
                      <a:pt x="614" y="390"/>
                      <a:pt x="617" y="375"/>
                      <a:pt x="618" y="360"/>
                    </a:cubicBezTo>
                    <a:cubicBezTo>
                      <a:pt x="666" y="332"/>
                      <a:pt x="666" y="332"/>
                      <a:pt x="666" y="332"/>
                    </a:cubicBezTo>
                    <a:cubicBezTo>
                      <a:pt x="666" y="319"/>
                      <a:pt x="666" y="319"/>
                      <a:pt x="666" y="319"/>
                    </a:cubicBezTo>
                    <a:cubicBezTo>
                      <a:pt x="664" y="299"/>
                      <a:pt x="660" y="276"/>
                      <a:pt x="660" y="275"/>
                    </a:cubicBezTo>
                    <a:cubicBezTo>
                      <a:pt x="660" y="274"/>
                      <a:pt x="656" y="252"/>
                      <a:pt x="650" y="233"/>
                    </a:cubicBezTo>
                    <a:cubicBezTo>
                      <a:pt x="647" y="220"/>
                      <a:pt x="647" y="220"/>
                      <a:pt x="647" y="220"/>
                    </a:cubicBezTo>
                    <a:cubicBezTo>
                      <a:pt x="588" y="209"/>
                      <a:pt x="588" y="209"/>
                      <a:pt x="588" y="209"/>
                    </a:cubicBezTo>
                    <a:cubicBezTo>
                      <a:pt x="582" y="197"/>
                      <a:pt x="575" y="186"/>
                      <a:pt x="567" y="176"/>
                    </a:cubicBezTo>
                    <a:cubicBezTo>
                      <a:pt x="588" y="118"/>
                      <a:pt x="588" y="118"/>
                      <a:pt x="588" y="118"/>
                    </a:cubicBezTo>
                    <a:cubicBezTo>
                      <a:pt x="579" y="108"/>
                      <a:pt x="579" y="108"/>
                      <a:pt x="579" y="108"/>
                    </a:cubicBezTo>
                    <a:cubicBezTo>
                      <a:pt x="565" y="94"/>
                      <a:pt x="547" y="79"/>
                      <a:pt x="547" y="78"/>
                    </a:cubicBezTo>
                    <a:cubicBezTo>
                      <a:pt x="546" y="78"/>
                      <a:pt x="528" y="63"/>
                      <a:pt x="512" y="52"/>
                    </a:cubicBezTo>
                    <a:cubicBezTo>
                      <a:pt x="501" y="45"/>
                      <a:pt x="501" y="45"/>
                      <a:pt x="501" y="45"/>
                    </a:cubicBezTo>
                    <a:cubicBezTo>
                      <a:pt x="441" y="78"/>
                      <a:pt x="441" y="78"/>
                      <a:pt x="441" y="78"/>
                    </a:cubicBezTo>
                    <a:cubicBezTo>
                      <a:pt x="432" y="75"/>
                      <a:pt x="423" y="72"/>
                      <a:pt x="414" y="69"/>
                    </a:cubicBezTo>
                    <a:cubicBezTo>
                      <a:pt x="390" y="4"/>
                      <a:pt x="390" y="4"/>
                      <a:pt x="390" y="4"/>
                    </a:cubicBezTo>
                    <a:cubicBezTo>
                      <a:pt x="377" y="3"/>
                      <a:pt x="377" y="3"/>
                      <a:pt x="377" y="3"/>
                    </a:cubicBezTo>
                    <a:cubicBezTo>
                      <a:pt x="357" y="0"/>
                      <a:pt x="334" y="0"/>
                      <a:pt x="333" y="0"/>
                    </a:cubicBezTo>
                    <a:cubicBezTo>
                      <a:pt x="332" y="0"/>
                      <a:pt x="309" y="0"/>
                      <a:pt x="290" y="3"/>
                    </a:cubicBezTo>
                    <a:cubicBezTo>
                      <a:pt x="276" y="4"/>
                      <a:pt x="276" y="4"/>
                      <a:pt x="276" y="4"/>
                    </a:cubicBezTo>
                    <a:cubicBezTo>
                      <a:pt x="252" y="69"/>
                      <a:pt x="252" y="69"/>
                      <a:pt x="252" y="69"/>
                    </a:cubicBezTo>
                    <a:cubicBezTo>
                      <a:pt x="243" y="72"/>
                      <a:pt x="234" y="75"/>
                      <a:pt x="225" y="78"/>
                    </a:cubicBezTo>
                    <a:cubicBezTo>
                      <a:pt x="165" y="45"/>
                      <a:pt x="165" y="45"/>
                      <a:pt x="165" y="45"/>
                    </a:cubicBezTo>
                    <a:cubicBezTo>
                      <a:pt x="154" y="52"/>
                      <a:pt x="154" y="52"/>
                      <a:pt x="154" y="52"/>
                    </a:cubicBezTo>
                    <a:cubicBezTo>
                      <a:pt x="138" y="63"/>
                      <a:pt x="120" y="77"/>
                      <a:pt x="119" y="78"/>
                    </a:cubicBezTo>
                    <a:cubicBezTo>
                      <a:pt x="119" y="79"/>
                      <a:pt x="101" y="93"/>
                      <a:pt x="88" y="108"/>
                    </a:cubicBezTo>
                    <a:cubicBezTo>
                      <a:pt x="78" y="118"/>
                      <a:pt x="78" y="118"/>
                      <a:pt x="78" y="118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91" y="186"/>
                      <a:pt x="84" y="197"/>
                      <a:pt x="78" y="209"/>
                    </a:cubicBezTo>
                    <a:cubicBezTo>
                      <a:pt x="19" y="220"/>
                      <a:pt x="19" y="220"/>
                      <a:pt x="19" y="220"/>
                    </a:cubicBezTo>
                    <a:cubicBezTo>
                      <a:pt x="16" y="232"/>
                      <a:pt x="16" y="232"/>
                      <a:pt x="16" y="232"/>
                    </a:cubicBezTo>
                    <a:cubicBezTo>
                      <a:pt x="10" y="251"/>
                      <a:pt x="6" y="274"/>
                      <a:pt x="6" y="275"/>
                    </a:cubicBezTo>
                    <a:cubicBezTo>
                      <a:pt x="5" y="276"/>
                      <a:pt x="1" y="298"/>
                      <a:pt x="0" y="318"/>
                    </a:cubicBezTo>
                    <a:cubicBezTo>
                      <a:pt x="0" y="332"/>
                      <a:pt x="0" y="332"/>
                      <a:pt x="0" y="332"/>
                    </a:cubicBezTo>
                    <a:cubicBezTo>
                      <a:pt x="48" y="360"/>
                      <a:pt x="48" y="360"/>
                      <a:pt x="48" y="360"/>
                    </a:cubicBezTo>
                    <a:cubicBezTo>
                      <a:pt x="50" y="375"/>
                      <a:pt x="52" y="390"/>
                      <a:pt x="56" y="404"/>
                    </a:cubicBezTo>
                    <a:cubicBezTo>
                      <a:pt x="20" y="448"/>
                      <a:pt x="20" y="448"/>
                      <a:pt x="20" y="448"/>
                    </a:cubicBezTo>
                    <a:cubicBezTo>
                      <a:pt x="25" y="460"/>
                      <a:pt x="25" y="460"/>
                      <a:pt x="25" y="460"/>
                    </a:cubicBezTo>
                    <a:cubicBezTo>
                      <a:pt x="33" y="478"/>
                      <a:pt x="44" y="498"/>
                      <a:pt x="45" y="499"/>
                    </a:cubicBezTo>
                    <a:cubicBezTo>
                      <a:pt x="45" y="500"/>
                      <a:pt x="57" y="520"/>
                      <a:pt x="69" y="535"/>
                    </a:cubicBezTo>
                    <a:cubicBezTo>
                      <a:pt x="77" y="546"/>
                      <a:pt x="77" y="546"/>
                      <a:pt x="77" y="546"/>
                    </a:cubicBezTo>
                    <a:cubicBezTo>
                      <a:pt x="138" y="536"/>
                      <a:pt x="138" y="536"/>
                      <a:pt x="138" y="536"/>
                    </a:cubicBezTo>
                    <a:cubicBezTo>
                      <a:pt x="147" y="544"/>
                      <a:pt x="156" y="552"/>
                      <a:pt x="166" y="559"/>
                    </a:cubicBezTo>
                    <a:cubicBezTo>
                      <a:pt x="167" y="622"/>
                      <a:pt x="167" y="622"/>
                      <a:pt x="167" y="622"/>
                    </a:cubicBezTo>
                    <a:cubicBezTo>
                      <a:pt x="179" y="628"/>
                      <a:pt x="179" y="628"/>
                      <a:pt x="179" y="628"/>
                    </a:cubicBezTo>
                    <a:cubicBezTo>
                      <a:pt x="197" y="637"/>
                      <a:pt x="218" y="645"/>
                      <a:pt x="219" y="645"/>
                    </a:cubicBezTo>
                    <a:cubicBezTo>
                      <a:pt x="220" y="645"/>
                      <a:pt x="242" y="653"/>
                      <a:pt x="261" y="658"/>
                    </a:cubicBezTo>
                    <a:cubicBezTo>
                      <a:pt x="274" y="661"/>
                      <a:pt x="274" y="661"/>
                      <a:pt x="274" y="661"/>
                    </a:cubicBezTo>
                    <a:cubicBezTo>
                      <a:pt x="317" y="610"/>
                      <a:pt x="317" y="610"/>
                      <a:pt x="317" y="610"/>
                    </a:cubicBezTo>
                    <a:cubicBezTo>
                      <a:pt x="328" y="611"/>
                      <a:pt x="338" y="611"/>
                      <a:pt x="348" y="610"/>
                    </a:cubicBezTo>
                    <a:cubicBezTo>
                      <a:pt x="392" y="661"/>
                      <a:pt x="392" y="661"/>
                      <a:pt x="392" y="661"/>
                    </a:cubicBezTo>
                    <a:lnTo>
                      <a:pt x="405" y="658"/>
                    </a:lnTo>
                    <a:close/>
                    <a:moveTo>
                      <a:pt x="356" y="565"/>
                    </a:moveTo>
                    <a:cubicBezTo>
                      <a:pt x="340" y="567"/>
                      <a:pt x="325" y="567"/>
                      <a:pt x="310" y="565"/>
                    </a:cubicBezTo>
                    <a:cubicBezTo>
                      <a:pt x="299" y="564"/>
                      <a:pt x="299" y="564"/>
                      <a:pt x="299" y="564"/>
                    </a:cubicBezTo>
                    <a:cubicBezTo>
                      <a:pt x="258" y="612"/>
                      <a:pt x="258" y="612"/>
                      <a:pt x="258" y="612"/>
                    </a:cubicBezTo>
                    <a:cubicBezTo>
                      <a:pt x="245" y="608"/>
                      <a:pt x="234" y="604"/>
                      <a:pt x="234" y="604"/>
                    </a:cubicBezTo>
                    <a:cubicBezTo>
                      <a:pt x="234" y="604"/>
                      <a:pt x="223" y="600"/>
                      <a:pt x="211" y="594"/>
                    </a:cubicBezTo>
                    <a:cubicBezTo>
                      <a:pt x="210" y="535"/>
                      <a:pt x="210" y="535"/>
                      <a:pt x="210" y="535"/>
                    </a:cubicBezTo>
                    <a:cubicBezTo>
                      <a:pt x="200" y="528"/>
                      <a:pt x="200" y="528"/>
                      <a:pt x="200" y="528"/>
                    </a:cubicBezTo>
                    <a:cubicBezTo>
                      <a:pt x="186" y="519"/>
                      <a:pt x="172" y="509"/>
                      <a:pt x="160" y="497"/>
                    </a:cubicBezTo>
                    <a:cubicBezTo>
                      <a:pt x="152" y="489"/>
                      <a:pt x="152" y="489"/>
                      <a:pt x="152" y="489"/>
                    </a:cubicBezTo>
                    <a:cubicBezTo>
                      <a:pt x="96" y="498"/>
                      <a:pt x="96" y="498"/>
                      <a:pt x="96" y="498"/>
                    </a:cubicBezTo>
                    <a:cubicBezTo>
                      <a:pt x="89" y="487"/>
                      <a:pt x="83" y="477"/>
                      <a:pt x="83" y="477"/>
                    </a:cubicBezTo>
                    <a:cubicBezTo>
                      <a:pt x="83" y="477"/>
                      <a:pt x="77" y="466"/>
                      <a:pt x="71" y="455"/>
                    </a:cubicBezTo>
                    <a:cubicBezTo>
                      <a:pt x="105" y="413"/>
                      <a:pt x="105" y="413"/>
                      <a:pt x="105" y="413"/>
                    </a:cubicBezTo>
                    <a:cubicBezTo>
                      <a:pt x="101" y="402"/>
                      <a:pt x="101" y="402"/>
                      <a:pt x="101" y="402"/>
                    </a:cubicBezTo>
                    <a:cubicBezTo>
                      <a:pt x="96" y="384"/>
                      <a:pt x="92" y="365"/>
                      <a:pt x="91" y="346"/>
                    </a:cubicBezTo>
                    <a:cubicBezTo>
                      <a:pt x="91" y="334"/>
                      <a:pt x="91" y="334"/>
                      <a:pt x="91" y="334"/>
                    </a:cubicBezTo>
                    <a:cubicBezTo>
                      <a:pt x="45" y="308"/>
                      <a:pt x="45" y="308"/>
                      <a:pt x="45" y="308"/>
                    </a:cubicBezTo>
                    <a:cubicBezTo>
                      <a:pt x="47" y="294"/>
                      <a:pt x="49" y="283"/>
                      <a:pt x="49" y="283"/>
                    </a:cubicBezTo>
                    <a:cubicBezTo>
                      <a:pt x="49" y="282"/>
                      <a:pt x="51" y="271"/>
                      <a:pt x="54" y="258"/>
                    </a:cubicBezTo>
                    <a:cubicBezTo>
                      <a:pt x="108" y="248"/>
                      <a:pt x="108" y="248"/>
                      <a:pt x="108" y="248"/>
                    </a:cubicBezTo>
                    <a:cubicBezTo>
                      <a:pt x="113" y="238"/>
                      <a:pt x="113" y="238"/>
                      <a:pt x="113" y="238"/>
                    </a:cubicBezTo>
                    <a:cubicBezTo>
                      <a:pt x="120" y="222"/>
                      <a:pt x="130" y="207"/>
                      <a:pt x="141" y="193"/>
                    </a:cubicBezTo>
                    <a:cubicBezTo>
                      <a:pt x="148" y="184"/>
                      <a:pt x="148" y="184"/>
                      <a:pt x="148" y="184"/>
                    </a:cubicBezTo>
                    <a:cubicBezTo>
                      <a:pt x="129" y="129"/>
                      <a:pt x="129" y="129"/>
                      <a:pt x="129" y="129"/>
                    </a:cubicBezTo>
                    <a:cubicBezTo>
                      <a:pt x="138" y="120"/>
                      <a:pt x="148" y="112"/>
                      <a:pt x="148" y="112"/>
                    </a:cubicBezTo>
                    <a:cubicBezTo>
                      <a:pt x="148" y="112"/>
                      <a:pt x="157" y="104"/>
                      <a:pt x="168" y="96"/>
                    </a:cubicBezTo>
                    <a:cubicBezTo>
                      <a:pt x="223" y="127"/>
                      <a:pt x="223" y="127"/>
                      <a:pt x="223" y="127"/>
                    </a:cubicBezTo>
                    <a:cubicBezTo>
                      <a:pt x="233" y="123"/>
                      <a:pt x="233" y="123"/>
                      <a:pt x="233" y="123"/>
                    </a:cubicBezTo>
                    <a:cubicBezTo>
                      <a:pt x="246" y="117"/>
                      <a:pt x="260" y="112"/>
                      <a:pt x="274" y="109"/>
                    </a:cubicBezTo>
                    <a:cubicBezTo>
                      <a:pt x="285" y="106"/>
                      <a:pt x="285" y="106"/>
                      <a:pt x="285" y="106"/>
                    </a:cubicBezTo>
                    <a:cubicBezTo>
                      <a:pt x="308" y="45"/>
                      <a:pt x="308" y="45"/>
                      <a:pt x="308" y="45"/>
                    </a:cubicBezTo>
                    <a:cubicBezTo>
                      <a:pt x="321" y="44"/>
                      <a:pt x="333" y="44"/>
                      <a:pt x="333" y="44"/>
                    </a:cubicBezTo>
                    <a:cubicBezTo>
                      <a:pt x="333" y="44"/>
                      <a:pt x="345" y="44"/>
                      <a:pt x="358" y="45"/>
                    </a:cubicBezTo>
                    <a:cubicBezTo>
                      <a:pt x="381" y="106"/>
                      <a:pt x="381" y="106"/>
                      <a:pt x="381" y="106"/>
                    </a:cubicBezTo>
                    <a:cubicBezTo>
                      <a:pt x="393" y="109"/>
                      <a:pt x="393" y="109"/>
                      <a:pt x="393" y="109"/>
                    </a:cubicBezTo>
                    <a:cubicBezTo>
                      <a:pt x="407" y="112"/>
                      <a:pt x="420" y="117"/>
                      <a:pt x="434" y="123"/>
                    </a:cubicBezTo>
                    <a:cubicBezTo>
                      <a:pt x="444" y="127"/>
                      <a:pt x="444" y="127"/>
                      <a:pt x="444" y="127"/>
                    </a:cubicBezTo>
                    <a:cubicBezTo>
                      <a:pt x="499" y="96"/>
                      <a:pt x="499" y="96"/>
                      <a:pt x="499" y="96"/>
                    </a:cubicBezTo>
                    <a:cubicBezTo>
                      <a:pt x="509" y="104"/>
                      <a:pt x="518" y="112"/>
                      <a:pt x="518" y="112"/>
                    </a:cubicBezTo>
                    <a:cubicBezTo>
                      <a:pt x="519" y="112"/>
                      <a:pt x="528" y="120"/>
                      <a:pt x="537" y="129"/>
                    </a:cubicBezTo>
                    <a:cubicBezTo>
                      <a:pt x="518" y="184"/>
                      <a:pt x="518" y="184"/>
                      <a:pt x="518" y="184"/>
                    </a:cubicBezTo>
                    <a:cubicBezTo>
                      <a:pt x="526" y="193"/>
                      <a:pt x="526" y="193"/>
                      <a:pt x="526" y="193"/>
                    </a:cubicBezTo>
                    <a:cubicBezTo>
                      <a:pt x="537" y="207"/>
                      <a:pt x="546" y="222"/>
                      <a:pt x="554" y="238"/>
                    </a:cubicBezTo>
                    <a:cubicBezTo>
                      <a:pt x="558" y="248"/>
                      <a:pt x="558" y="248"/>
                      <a:pt x="558" y="248"/>
                    </a:cubicBezTo>
                    <a:cubicBezTo>
                      <a:pt x="612" y="258"/>
                      <a:pt x="612" y="258"/>
                      <a:pt x="612" y="258"/>
                    </a:cubicBezTo>
                    <a:cubicBezTo>
                      <a:pt x="615" y="271"/>
                      <a:pt x="617" y="283"/>
                      <a:pt x="617" y="283"/>
                    </a:cubicBezTo>
                    <a:cubicBezTo>
                      <a:pt x="617" y="283"/>
                      <a:pt x="619" y="295"/>
                      <a:pt x="620" y="308"/>
                    </a:cubicBezTo>
                    <a:cubicBezTo>
                      <a:pt x="576" y="334"/>
                      <a:pt x="576" y="334"/>
                      <a:pt x="576" y="334"/>
                    </a:cubicBezTo>
                    <a:cubicBezTo>
                      <a:pt x="575" y="346"/>
                      <a:pt x="575" y="346"/>
                      <a:pt x="575" y="346"/>
                    </a:cubicBezTo>
                    <a:cubicBezTo>
                      <a:pt x="574" y="365"/>
                      <a:pt x="570" y="384"/>
                      <a:pt x="565" y="403"/>
                    </a:cubicBezTo>
                    <a:cubicBezTo>
                      <a:pt x="561" y="414"/>
                      <a:pt x="561" y="414"/>
                      <a:pt x="561" y="414"/>
                    </a:cubicBezTo>
                    <a:cubicBezTo>
                      <a:pt x="594" y="455"/>
                      <a:pt x="594" y="455"/>
                      <a:pt x="594" y="455"/>
                    </a:cubicBezTo>
                    <a:cubicBezTo>
                      <a:pt x="589" y="467"/>
                      <a:pt x="583" y="477"/>
                      <a:pt x="583" y="477"/>
                    </a:cubicBezTo>
                    <a:cubicBezTo>
                      <a:pt x="583" y="477"/>
                      <a:pt x="577" y="488"/>
                      <a:pt x="569" y="499"/>
                    </a:cubicBezTo>
                    <a:cubicBezTo>
                      <a:pt x="514" y="489"/>
                      <a:pt x="514" y="489"/>
                      <a:pt x="514" y="489"/>
                    </a:cubicBezTo>
                    <a:cubicBezTo>
                      <a:pt x="506" y="497"/>
                      <a:pt x="506" y="497"/>
                      <a:pt x="506" y="497"/>
                    </a:cubicBezTo>
                    <a:cubicBezTo>
                      <a:pt x="494" y="509"/>
                      <a:pt x="480" y="519"/>
                      <a:pt x="466" y="529"/>
                    </a:cubicBezTo>
                    <a:cubicBezTo>
                      <a:pt x="455" y="535"/>
                      <a:pt x="455" y="535"/>
                      <a:pt x="455" y="535"/>
                    </a:cubicBezTo>
                    <a:cubicBezTo>
                      <a:pt x="455" y="594"/>
                      <a:pt x="455" y="594"/>
                      <a:pt x="455" y="594"/>
                    </a:cubicBezTo>
                    <a:cubicBezTo>
                      <a:pt x="443" y="600"/>
                      <a:pt x="432" y="604"/>
                      <a:pt x="431" y="604"/>
                    </a:cubicBezTo>
                    <a:cubicBezTo>
                      <a:pt x="431" y="604"/>
                      <a:pt x="420" y="608"/>
                      <a:pt x="407" y="612"/>
                    </a:cubicBezTo>
                    <a:cubicBezTo>
                      <a:pt x="367" y="564"/>
                      <a:pt x="367" y="564"/>
                      <a:pt x="367" y="564"/>
                    </a:cubicBezTo>
                    <a:lnTo>
                      <a:pt x="356" y="565"/>
                    </a:lnTo>
                    <a:close/>
                    <a:moveTo>
                      <a:pt x="511" y="334"/>
                    </a:moveTo>
                    <a:cubicBezTo>
                      <a:pt x="511" y="236"/>
                      <a:pt x="431" y="156"/>
                      <a:pt x="333" y="156"/>
                    </a:cubicBezTo>
                    <a:cubicBezTo>
                      <a:pt x="235" y="156"/>
                      <a:pt x="155" y="236"/>
                      <a:pt x="155" y="334"/>
                    </a:cubicBezTo>
                    <a:cubicBezTo>
                      <a:pt x="155" y="432"/>
                      <a:pt x="235" y="512"/>
                      <a:pt x="333" y="512"/>
                    </a:cubicBezTo>
                    <a:cubicBezTo>
                      <a:pt x="431" y="512"/>
                      <a:pt x="511" y="432"/>
                      <a:pt x="511" y="334"/>
                    </a:cubicBezTo>
                    <a:close/>
                    <a:moveTo>
                      <a:pt x="467" y="334"/>
                    </a:moveTo>
                    <a:cubicBezTo>
                      <a:pt x="467" y="408"/>
                      <a:pt x="407" y="468"/>
                      <a:pt x="333" y="468"/>
                    </a:cubicBezTo>
                    <a:cubicBezTo>
                      <a:pt x="259" y="468"/>
                      <a:pt x="199" y="408"/>
                      <a:pt x="199" y="334"/>
                    </a:cubicBezTo>
                    <a:cubicBezTo>
                      <a:pt x="199" y="260"/>
                      <a:pt x="259" y="200"/>
                      <a:pt x="333" y="200"/>
                    </a:cubicBezTo>
                    <a:cubicBezTo>
                      <a:pt x="407" y="200"/>
                      <a:pt x="467" y="260"/>
                      <a:pt x="467" y="334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69662" name="Group 57"/>
          <p:cNvGrpSpPr>
            <a:grpSpLocks noChangeAspect="1"/>
          </p:cNvGrpSpPr>
          <p:nvPr/>
        </p:nvGrpSpPr>
        <p:grpSpPr bwMode="auto">
          <a:xfrm>
            <a:off x="5210175" y="1973263"/>
            <a:ext cx="687388" cy="687387"/>
            <a:chOff x="5273675" y="2570163"/>
            <a:chExt cx="1646238" cy="1646237"/>
          </a:xfrm>
        </p:grpSpPr>
        <p:sp>
          <p:nvSpPr>
            <p:cNvPr id="6967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570163"/>
              <a:ext cx="1646238" cy="164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69678" name="Group 59"/>
            <p:cNvGrpSpPr>
              <a:grpSpLocks/>
            </p:cNvGrpSpPr>
            <p:nvPr/>
          </p:nvGrpSpPr>
          <p:grpSpPr bwMode="auto">
            <a:xfrm>
              <a:off x="5540376" y="2842160"/>
              <a:ext cx="1111397" cy="1099602"/>
              <a:chOff x="5540376" y="2842160"/>
              <a:chExt cx="1111397" cy="1099602"/>
            </a:xfrm>
          </p:grpSpPr>
          <p:sp>
            <p:nvSpPr>
              <p:cNvPr id="69679" name="Freeform 60"/>
              <p:cNvSpPr>
                <a:spLocks/>
              </p:cNvSpPr>
              <p:nvPr/>
            </p:nvSpPr>
            <p:spPr bwMode="auto">
              <a:xfrm>
                <a:off x="5967413" y="3044825"/>
                <a:ext cx="530225" cy="557212"/>
              </a:xfrm>
              <a:custGeom>
                <a:avLst/>
                <a:gdLst>
                  <a:gd name="T0" fmla="*/ 528087 w 744"/>
                  <a:gd name="T1" fmla="*/ 373853 h 781"/>
                  <a:gd name="T2" fmla="*/ 528087 w 744"/>
                  <a:gd name="T3" fmla="*/ 370286 h 781"/>
                  <a:gd name="T4" fmla="*/ 466085 w 744"/>
                  <a:gd name="T5" fmla="*/ 204049 h 781"/>
                  <a:gd name="T6" fmla="*/ 431164 w 744"/>
                  <a:gd name="T7" fmla="*/ 154107 h 781"/>
                  <a:gd name="T8" fmla="*/ 324977 w 744"/>
                  <a:gd name="T9" fmla="*/ 39954 h 781"/>
                  <a:gd name="T10" fmla="*/ 310011 w 744"/>
                  <a:gd name="T11" fmla="*/ 21404 h 781"/>
                  <a:gd name="T12" fmla="*/ 300746 w 744"/>
                  <a:gd name="T13" fmla="*/ 7135 h 781"/>
                  <a:gd name="T14" fmla="*/ 300033 w 744"/>
                  <a:gd name="T15" fmla="*/ 5708 h 781"/>
                  <a:gd name="T16" fmla="*/ 287205 w 744"/>
                  <a:gd name="T17" fmla="*/ 0 h 781"/>
                  <a:gd name="T18" fmla="*/ 237318 w 744"/>
                  <a:gd name="T19" fmla="*/ 0 h 781"/>
                  <a:gd name="T20" fmla="*/ 225203 w 744"/>
                  <a:gd name="T21" fmla="*/ 5708 h 781"/>
                  <a:gd name="T22" fmla="*/ 223778 w 744"/>
                  <a:gd name="T23" fmla="*/ 7848 h 781"/>
                  <a:gd name="T24" fmla="*/ 215938 w 744"/>
                  <a:gd name="T25" fmla="*/ 21404 h 781"/>
                  <a:gd name="T26" fmla="*/ 202398 w 744"/>
                  <a:gd name="T27" fmla="*/ 39954 h 781"/>
                  <a:gd name="T28" fmla="*/ 96210 w 744"/>
                  <a:gd name="T29" fmla="*/ 154107 h 781"/>
                  <a:gd name="T30" fmla="*/ 61289 w 744"/>
                  <a:gd name="T31" fmla="*/ 204049 h 781"/>
                  <a:gd name="T32" fmla="*/ 0 w 744"/>
                  <a:gd name="T33" fmla="*/ 353876 h 781"/>
                  <a:gd name="T34" fmla="*/ 6414 w 744"/>
                  <a:gd name="T35" fmla="*/ 354589 h 781"/>
                  <a:gd name="T36" fmla="*/ 285067 w 744"/>
                  <a:gd name="T37" fmla="*/ 368859 h 781"/>
                  <a:gd name="T38" fmla="*/ 376289 w 744"/>
                  <a:gd name="T39" fmla="*/ 464462 h 781"/>
                  <a:gd name="T40" fmla="*/ 375576 w 744"/>
                  <a:gd name="T41" fmla="*/ 477305 h 781"/>
                  <a:gd name="T42" fmla="*/ 306447 w 744"/>
                  <a:gd name="T43" fmla="*/ 557212 h 781"/>
                  <a:gd name="T44" fmla="*/ 356334 w 744"/>
                  <a:gd name="T45" fmla="*/ 548650 h 781"/>
                  <a:gd name="T46" fmla="*/ 362748 w 744"/>
                  <a:gd name="T47" fmla="*/ 547224 h 781"/>
                  <a:gd name="T48" fmla="*/ 488890 w 744"/>
                  <a:gd name="T49" fmla="*/ 468030 h 781"/>
                  <a:gd name="T50" fmla="*/ 520960 w 744"/>
                  <a:gd name="T51" fmla="*/ 432357 h 781"/>
                  <a:gd name="T52" fmla="*/ 528087 w 744"/>
                  <a:gd name="T53" fmla="*/ 373853 h 78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744"/>
                  <a:gd name="T82" fmla="*/ 0 h 781"/>
                  <a:gd name="T83" fmla="*/ 744 w 744"/>
                  <a:gd name="T84" fmla="*/ 781 h 78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744" h="781">
                    <a:moveTo>
                      <a:pt x="741" y="524"/>
                    </a:moveTo>
                    <a:cubicBezTo>
                      <a:pt x="741" y="519"/>
                      <a:pt x="741" y="519"/>
                      <a:pt x="741" y="519"/>
                    </a:cubicBezTo>
                    <a:cubicBezTo>
                      <a:pt x="741" y="453"/>
                      <a:pt x="711" y="373"/>
                      <a:pt x="654" y="286"/>
                    </a:cubicBezTo>
                    <a:cubicBezTo>
                      <a:pt x="640" y="263"/>
                      <a:pt x="624" y="240"/>
                      <a:pt x="605" y="216"/>
                    </a:cubicBezTo>
                    <a:cubicBezTo>
                      <a:pt x="542" y="134"/>
                      <a:pt x="475" y="71"/>
                      <a:pt x="456" y="56"/>
                    </a:cubicBezTo>
                    <a:cubicBezTo>
                      <a:pt x="450" y="51"/>
                      <a:pt x="442" y="41"/>
                      <a:pt x="435" y="30"/>
                    </a:cubicBezTo>
                    <a:cubicBezTo>
                      <a:pt x="430" y="23"/>
                      <a:pt x="426" y="16"/>
                      <a:pt x="422" y="10"/>
                    </a:cubicBezTo>
                    <a:cubicBezTo>
                      <a:pt x="422" y="10"/>
                      <a:pt x="422" y="9"/>
                      <a:pt x="421" y="8"/>
                    </a:cubicBezTo>
                    <a:cubicBezTo>
                      <a:pt x="417" y="3"/>
                      <a:pt x="410" y="0"/>
                      <a:pt x="403" y="0"/>
                    </a:cubicBezTo>
                    <a:cubicBezTo>
                      <a:pt x="333" y="0"/>
                      <a:pt x="333" y="0"/>
                      <a:pt x="333" y="0"/>
                    </a:cubicBezTo>
                    <a:cubicBezTo>
                      <a:pt x="327" y="0"/>
                      <a:pt x="320" y="3"/>
                      <a:pt x="316" y="8"/>
                    </a:cubicBezTo>
                    <a:cubicBezTo>
                      <a:pt x="315" y="9"/>
                      <a:pt x="315" y="10"/>
                      <a:pt x="314" y="11"/>
                    </a:cubicBezTo>
                    <a:cubicBezTo>
                      <a:pt x="311" y="17"/>
                      <a:pt x="307" y="24"/>
                      <a:pt x="303" y="30"/>
                    </a:cubicBezTo>
                    <a:cubicBezTo>
                      <a:pt x="297" y="41"/>
                      <a:pt x="290" y="51"/>
                      <a:pt x="284" y="56"/>
                    </a:cubicBezTo>
                    <a:cubicBezTo>
                      <a:pt x="265" y="71"/>
                      <a:pt x="198" y="134"/>
                      <a:pt x="135" y="216"/>
                    </a:cubicBezTo>
                    <a:cubicBezTo>
                      <a:pt x="116" y="240"/>
                      <a:pt x="100" y="263"/>
                      <a:pt x="86" y="286"/>
                    </a:cubicBezTo>
                    <a:cubicBezTo>
                      <a:pt x="35" y="364"/>
                      <a:pt x="6" y="435"/>
                      <a:pt x="0" y="496"/>
                    </a:cubicBezTo>
                    <a:cubicBezTo>
                      <a:pt x="9" y="497"/>
                      <a:pt x="9" y="497"/>
                      <a:pt x="9" y="497"/>
                    </a:cubicBezTo>
                    <a:cubicBezTo>
                      <a:pt x="400" y="517"/>
                      <a:pt x="400" y="517"/>
                      <a:pt x="400" y="517"/>
                    </a:cubicBezTo>
                    <a:cubicBezTo>
                      <a:pt x="472" y="520"/>
                      <a:pt x="528" y="580"/>
                      <a:pt x="528" y="651"/>
                    </a:cubicBezTo>
                    <a:cubicBezTo>
                      <a:pt x="528" y="657"/>
                      <a:pt x="528" y="663"/>
                      <a:pt x="527" y="669"/>
                    </a:cubicBezTo>
                    <a:cubicBezTo>
                      <a:pt x="520" y="723"/>
                      <a:pt x="482" y="767"/>
                      <a:pt x="430" y="781"/>
                    </a:cubicBezTo>
                    <a:cubicBezTo>
                      <a:pt x="454" y="780"/>
                      <a:pt x="477" y="776"/>
                      <a:pt x="500" y="769"/>
                    </a:cubicBezTo>
                    <a:cubicBezTo>
                      <a:pt x="509" y="767"/>
                      <a:pt x="509" y="767"/>
                      <a:pt x="509" y="767"/>
                    </a:cubicBezTo>
                    <a:cubicBezTo>
                      <a:pt x="578" y="748"/>
                      <a:pt x="639" y="709"/>
                      <a:pt x="686" y="656"/>
                    </a:cubicBezTo>
                    <a:cubicBezTo>
                      <a:pt x="731" y="606"/>
                      <a:pt x="731" y="606"/>
                      <a:pt x="731" y="606"/>
                    </a:cubicBezTo>
                    <a:cubicBezTo>
                      <a:pt x="744" y="564"/>
                      <a:pt x="741" y="525"/>
                      <a:pt x="741" y="524"/>
                    </a:cubicBezTo>
                    <a:close/>
                  </a:path>
                </a:pathLst>
              </a:custGeom>
              <a:solidFill>
                <a:srgbClr val="98A6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680" name="Freeform 61"/>
              <p:cNvSpPr>
                <a:spLocks/>
              </p:cNvSpPr>
              <p:nvPr/>
            </p:nvSpPr>
            <p:spPr bwMode="auto">
              <a:xfrm>
                <a:off x="5540376" y="2842160"/>
                <a:ext cx="1111397" cy="1099602"/>
              </a:xfrm>
              <a:custGeom>
                <a:avLst/>
                <a:gdLst/>
                <a:ahLst/>
                <a:cxnLst/>
                <a:rect l="0" t="0" r="r" b="b"/>
                <a:pathLst>
                  <a:path w="1111397" h="1099602">
                    <a:moveTo>
                      <a:pt x="383064" y="618590"/>
                    </a:moveTo>
                    <a:cubicBezTo>
                      <a:pt x="378066" y="618590"/>
                      <a:pt x="373067" y="619304"/>
                      <a:pt x="367355" y="620732"/>
                    </a:cubicBezTo>
                    <a:cubicBezTo>
                      <a:pt x="352360" y="623589"/>
                      <a:pt x="336651" y="628588"/>
                      <a:pt x="323084" y="636443"/>
                    </a:cubicBezTo>
                    <a:cubicBezTo>
                      <a:pt x="323084" y="636443"/>
                      <a:pt x="323084" y="636443"/>
                      <a:pt x="31750" y="802118"/>
                    </a:cubicBezTo>
                    <a:cubicBezTo>
                      <a:pt x="31750" y="802118"/>
                      <a:pt x="31750" y="802118"/>
                      <a:pt x="31750" y="1059915"/>
                    </a:cubicBezTo>
                    <a:cubicBezTo>
                      <a:pt x="31750" y="1059915"/>
                      <a:pt x="31750" y="1059915"/>
                      <a:pt x="332366" y="944228"/>
                    </a:cubicBezTo>
                    <a:cubicBezTo>
                      <a:pt x="359500" y="933516"/>
                      <a:pt x="388062" y="927803"/>
                      <a:pt x="417338" y="927803"/>
                    </a:cubicBezTo>
                    <a:cubicBezTo>
                      <a:pt x="423051" y="927803"/>
                      <a:pt x="428763" y="928517"/>
                      <a:pt x="434476" y="928517"/>
                    </a:cubicBezTo>
                    <a:cubicBezTo>
                      <a:pt x="434476" y="928517"/>
                      <a:pt x="434476" y="928517"/>
                      <a:pt x="554436" y="937087"/>
                    </a:cubicBezTo>
                    <a:cubicBezTo>
                      <a:pt x="570146" y="938515"/>
                      <a:pt x="585855" y="939229"/>
                      <a:pt x="601564" y="939229"/>
                    </a:cubicBezTo>
                    <a:cubicBezTo>
                      <a:pt x="668685" y="939229"/>
                      <a:pt x="735092" y="929232"/>
                      <a:pt x="798642" y="909236"/>
                    </a:cubicBezTo>
                    <a:cubicBezTo>
                      <a:pt x="798642" y="909236"/>
                      <a:pt x="798642" y="909236"/>
                      <a:pt x="811495" y="904952"/>
                    </a:cubicBezTo>
                    <a:cubicBezTo>
                      <a:pt x="894325" y="879243"/>
                      <a:pt x="967873" y="830683"/>
                      <a:pt x="1024283" y="764270"/>
                    </a:cubicBezTo>
                    <a:cubicBezTo>
                      <a:pt x="1024283" y="764270"/>
                      <a:pt x="1024283" y="764270"/>
                      <a:pt x="1070696" y="709283"/>
                    </a:cubicBezTo>
                    <a:cubicBezTo>
                      <a:pt x="1084263" y="692858"/>
                      <a:pt x="1082835" y="669293"/>
                      <a:pt x="1067126" y="655010"/>
                    </a:cubicBezTo>
                    <a:cubicBezTo>
                      <a:pt x="1059985" y="648583"/>
                      <a:pt x="1050703" y="645012"/>
                      <a:pt x="1041420" y="645012"/>
                    </a:cubicBezTo>
                    <a:cubicBezTo>
                      <a:pt x="1029995" y="645012"/>
                      <a:pt x="1019999" y="650011"/>
                      <a:pt x="1012144" y="658581"/>
                    </a:cubicBezTo>
                    <a:cubicBezTo>
                      <a:pt x="1012144" y="658581"/>
                      <a:pt x="1012144" y="658581"/>
                      <a:pt x="1004289" y="667150"/>
                    </a:cubicBezTo>
                    <a:cubicBezTo>
                      <a:pt x="1004289" y="667150"/>
                      <a:pt x="1004289" y="667150"/>
                      <a:pt x="963588" y="712854"/>
                    </a:cubicBezTo>
                    <a:cubicBezTo>
                      <a:pt x="951450" y="726422"/>
                      <a:pt x="938597" y="739276"/>
                      <a:pt x="924316" y="750702"/>
                    </a:cubicBezTo>
                    <a:cubicBezTo>
                      <a:pt x="919317" y="754273"/>
                      <a:pt x="915033" y="757843"/>
                      <a:pt x="910034" y="761414"/>
                    </a:cubicBezTo>
                    <a:cubicBezTo>
                      <a:pt x="899324" y="769269"/>
                      <a:pt x="888613" y="775696"/>
                      <a:pt x="876474" y="782123"/>
                    </a:cubicBezTo>
                    <a:cubicBezTo>
                      <a:pt x="855052" y="794263"/>
                      <a:pt x="831489" y="804261"/>
                      <a:pt x="807211" y="810688"/>
                    </a:cubicBezTo>
                    <a:cubicBezTo>
                      <a:pt x="807211" y="810688"/>
                      <a:pt x="807211" y="810688"/>
                      <a:pt x="800784" y="812830"/>
                    </a:cubicBezTo>
                    <a:cubicBezTo>
                      <a:pt x="773650" y="819971"/>
                      <a:pt x="746517" y="823542"/>
                      <a:pt x="717954" y="823542"/>
                    </a:cubicBezTo>
                    <a:cubicBezTo>
                      <a:pt x="717240" y="823542"/>
                      <a:pt x="715812" y="823542"/>
                      <a:pt x="715098" y="823542"/>
                    </a:cubicBezTo>
                    <a:cubicBezTo>
                      <a:pt x="697961" y="823542"/>
                      <a:pt x="680824" y="822114"/>
                      <a:pt x="664401" y="819257"/>
                    </a:cubicBezTo>
                    <a:cubicBezTo>
                      <a:pt x="643693" y="815687"/>
                      <a:pt x="623700" y="809260"/>
                      <a:pt x="603706" y="801404"/>
                    </a:cubicBezTo>
                    <a:cubicBezTo>
                      <a:pt x="603706" y="801404"/>
                      <a:pt x="603706" y="801404"/>
                      <a:pt x="578714" y="791407"/>
                    </a:cubicBezTo>
                    <a:cubicBezTo>
                      <a:pt x="563005" y="785694"/>
                      <a:pt x="553722" y="770697"/>
                      <a:pt x="553008" y="754987"/>
                    </a:cubicBezTo>
                    <a:cubicBezTo>
                      <a:pt x="553008" y="754273"/>
                      <a:pt x="553008" y="753558"/>
                      <a:pt x="553008" y="752844"/>
                    </a:cubicBezTo>
                    <a:cubicBezTo>
                      <a:pt x="553008" y="750702"/>
                      <a:pt x="553008" y="749274"/>
                      <a:pt x="553008" y="747131"/>
                    </a:cubicBezTo>
                    <a:cubicBezTo>
                      <a:pt x="553722" y="744275"/>
                      <a:pt x="554436" y="741418"/>
                      <a:pt x="555151" y="739276"/>
                    </a:cubicBezTo>
                    <a:cubicBezTo>
                      <a:pt x="555865" y="738562"/>
                      <a:pt x="555865" y="737134"/>
                      <a:pt x="556579" y="736420"/>
                    </a:cubicBezTo>
                    <a:cubicBezTo>
                      <a:pt x="558007" y="732135"/>
                      <a:pt x="560149" y="728564"/>
                      <a:pt x="563719" y="725708"/>
                    </a:cubicBezTo>
                    <a:cubicBezTo>
                      <a:pt x="563719" y="724994"/>
                      <a:pt x="564433" y="724280"/>
                      <a:pt x="565147" y="723565"/>
                    </a:cubicBezTo>
                    <a:cubicBezTo>
                      <a:pt x="571574" y="717138"/>
                      <a:pt x="580142" y="712854"/>
                      <a:pt x="590139" y="712140"/>
                    </a:cubicBezTo>
                    <a:cubicBezTo>
                      <a:pt x="590139" y="712140"/>
                      <a:pt x="590139" y="712140"/>
                      <a:pt x="710814" y="700714"/>
                    </a:cubicBezTo>
                    <a:cubicBezTo>
                      <a:pt x="723667" y="699285"/>
                      <a:pt x="733664" y="690716"/>
                      <a:pt x="738662" y="680004"/>
                    </a:cubicBezTo>
                    <a:cubicBezTo>
                      <a:pt x="740090" y="675720"/>
                      <a:pt x="740804" y="672149"/>
                      <a:pt x="740804" y="667150"/>
                    </a:cubicBezTo>
                    <a:cubicBezTo>
                      <a:pt x="740804" y="650011"/>
                      <a:pt x="727237" y="635015"/>
                      <a:pt x="709386" y="634301"/>
                    </a:cubicBezTo>
                    <a:cubicBezTo>
                      <a:pt x="709386" y="634301"/>
                      <a:pt x="709386" y="634301"/>
                      <a:pt x="445901" y="620732"/>
                    </a:cubicBezTo>
                    <a:cubicBezTo>
                      <a:pt x="445901" y="620732"/>
                      <a:pt x="445901" y="620732"/>
                      <a:pt x="433762" y="620018"/>
                    </a:cubicBezTo>
                    <a:cubicBezTo>
                      <a:pt x="433762" y="620018"/>
                      <a:pt x="433762" y="620018"/>
                      <a:pt x="416624" y="619304"/>
                    </a:cubicBezTo>
                    <a:cubicBezTo>
                      <a:pt x="416624" y="619304"/>
                      <a:pt x="416624" y="619304"/>
                      <a:pt x="400201" y="618590"/>
                    </a:cubicBezTo>
                    <a:cubicBezTo>
                      <a:pt x="400201" y="618590"/>
                      <a:pt x="399487" y="618590"/>
                      <a:pt x="399487" y="618590"/>
                    </a:cubicBezTo>
                    <a:cubicBezTo>
                      <a:pt x="397345" y="618590"/>
                      <a:pt x="395203" y="618590"/>
                      <a:pt x="393061" y="618590"/>
                    </a:cubicBezTo>
                    <a:cubicBezTo>
                      <a:pt x="389490" y="618590"/>
                      <a:pt x="386634" y="618590"/>
                      <a:pt x="383064" y="618590"/>
                    </a:cubicBezTo>
                    <a:close/>
                    <a:moveTo>
                      <a:pt x="378539" y="586840"/>
                    </a:moveTo>
                    <a:cubicBezTo>
                      <a:pt x="382824" y="586840"/>
                      <a:pt x="387824" y="586840"/>
                      <a:pt x="392823" y="586840"/>
                    </a:cubicBezTo>
                    <a:cubicBezTo>
                      <a:pt x="392823" y="586840"/>
                      <a:pt x="393537" y="586840"/>
                      <a:pt x="394252" y="586840"/>
                    </a:cubicBezTo>
                    <a:cubicBezTo>
                      <a:pt x="397108" y="586840"/>
                      <a:pt x="399251" y="586840"/>
                      <a:pt x="401394" y="586840"/>
                    </a:cubicBezTo>
                    <a:cubicBezTo>
                      <a:pt x="401394" y="586840"/>
                      <a:pt x="401394" y="586840"/>
                      <a:pt x="409964" y="586840"/>
                    </a:cubicBezTo>
                    <a:cubicBezTo>
                      <a:pt x="409964" y="586840"/>
                      <a:pt x="409964" y="586840"/>
                      <a:pt x="426392" y="588270"/>
                    </a:cubicBezTo>
                    <a:cubicBezTo>
                      <a:pt x="426392" y="588270"/>
                      <a:pt x="426392" y="588270"/>
                      <a:pt x="434962" y="588270"/>
                    </a:cubicBezTo>
                    <a:cubicBezTo>
                      <a:pt x="434962" y="588270"/>
                      <a:pt x="434962" y="588270"/>
                      <a:pt x="710652" y="602573"/>
                    </a:cubicBezTo>
                    <a:cubicBezTo>
                      <a:pt x="744935" y="604719"/>
                      <a:pt x="772076" y="632610"/>
                      <a:pt x="772076" y="666937"/>
                    </a:cubicBezTo>
                    <a:cubicBezTo>
                      <a:pt x="772076" y="671228"/>
                      <a:pt x="771361" y="675519"/>
                      <a:pt x="770647" y="679810"/>
                    </a:cubicBezTo>
                    <a:cubicBezTo>
                      <a:pt x="765648" y="706985"/>
                      <a:pt x="742793" y="728440"/>
                      <a:pt x="713509" y="731300"/>
                    </a:cubicBezTo>
                    <a:cubicBezTo>
                      <a:pt x="713509" y="731300"/>
                      <a:pt x="713509" y="731300"/>
                      <a:pt x="606376" y="742028"/>
                    </a:cubicBezTo>
                    <a:cubicBezTo>
                      <a:pt x="606376" y="742028"/>
                      <a:pt x="606376" y="742028"/>
                      <a:pt x="597805" y="742743"/>
                    </a:cubicBezTo>
                    <a:cubicBezTo>
                      <a:pt x="597805" y="742743"/>
                      <a:pt x="597805" y="742743"/>
                      <a:pt x="592806" y="743458"/>
                    </a:cubicBezTo>
                    <a:cubicBezTo>
                      <a:pt x="588520" y="743458"/>
                      <a:pt x="585663" y="747034"/>
                      <a:pt x="584235" y="750609"/>
                    </a:cubicBezTo>
                    <a:cubicBezTo>
                      <a:pt x="584235" y="751324"/>
                      <a:pt x="584235" y="752040"/>
                      <a:pt x="584235" y="752755"/>
                    </a:cubicBezTo>
                    <a:cubicBezTo>
                      <a:pt x="583521" y="757046"/>
                      <a:pt x="585663" y="760621"/>
                      <a:pt x="589949" y="762052"/>
                    </a:cubicBezTo>
                    <a:cubicBezTo>
                      <a:pt x="589949" y="762052"/>
                      <a:pt x="589949" y="762052"/>
                      <a:pt x="615661" y="772779"/>
                    </a:cubicBezTo>
                    <a:cubicBezTo>
                      <a:pt x="616375" y="772779"/>
                      <a:pt x="617803" y="773494"/>
                      <a:pt x="618518" y="773494"/>
                    </a:cubicBezTo>
                    <a:cubicBezTo>
                      <a:pt x="637087" y="780646"/>
                      <a:pt x="655657" y="785652"/>
                      <a:pt x="674941" y="789227"/>
                    </a:cubicBezTo>
                    <a:cubicBezTo>
                      <a:pt x="679941" y="789943"/>
                      <a:pt x="684940" y="790658"/>
                      <a:pt x="690654" y="790658"/>
                    </a:cubicBezTo>
                    <a:cubicBezTo>
                      <a:pt x="690654" y="791373"/>
                      <a:pt x="690654" y="791373"/>
                      <a:pt x="690654" y="791373"/>
                    </a:cubicBezTo>
                    <a:cubicBezTo>
                      <a:pt x="697082" y="791373"/>
                      <a:pt x="702796" y="792088"/>
                      <a:pt x="709224" y="792088"/>
                    </a:cubicBezTo>
                    <a:cubicBezTo>
                      <a:pt x="712081" y="792088"/>
                      <a:pt x="714938" y="792088"/>
                      <a:pt x="717795" y="792088"/>
                    </a:cubicBezTo>
                    <a:cubicBezTo>
                      <a:pt x="731365" y="792088"/>
                      <a:pt x="744221" y="791373"/>
                      <a:pt x="757791" y="789227"/>
                    </a:cubicBezTo>
                    <a:cubicBezTo>
                      <a:pt x="766362" y="788512"/>
                      <a:pt x="775647" y="786367"/>
                      <a:pt x="784932" y="784221"/>
                    </a:cubicBezTo>
                    <a:cubicBezTo>
                      <a:pt x="787074" y="783506"/>
                      <a:pt x="789931" y="782791"/>
                      <a:pt x="792074" y="782076"/>
                    </a:cubicBezTo>
                    <a:cubicBezTo>
                      <a:pt x="792074" y="782076"/>
                      <a:pt x="792074" y="782076"/>
                      <a:pt x="798502" y="780646"/>
                    </a:cubicBezTo>
                    <a:cubicBezTo>
                      <a:pt x="819929" y="774209"/>
                      <a:pt x="839927" y="766343"/>
                      <a:pt x="859211" y="756331"/>
                    </a:cubicBezTo>
                    <a:cubicBezTo>
                      <a:pt x="860639" y="754900"/>
                      <a:pt x="862782" y="754185"/>
                      <a:pt x="864210" y="753470"/>
                    </a:cubicBezTo>
                    <a:cubicBezTo>
                      <a:pt x="874924" y="747034"/>
                      <a:pt x="885637" y="740597"/>
                      <a:pt x="895636" y="732731"/>
                    </a:cubicBezTo>
                    <a:cubicBezTo>
                      <a:pt x="896351" y="732015"/>
                      <a:pt x="897779" y="731300"/>
                      <a:pt x="899207" y="730585"/>
                    </a:cubicBezTo>
                    <a:cubicBezTo>
                      <a:pt x="907778" y="723434"/>
                      <a:pt x="916349" y="716282"/>
                      <a:pt x="924919" y="707700"/>
                    </a:cubicBezTo>
                    <a:cubicBezTo>
                      <a:pt x="929919" y="702694"/>
                      <a:pt x="934919" y="697688"/>
                      <a:pt x="939918" y="691967"/>
                    </a:cubicBezTo>
                    <a:cubicBezTo>
                      <a:pt x="939918" y="691967"/>
                      <a:pt x="939918" y="691967"/>
                      <a:pt x="976344" y="651204"/>
                    </a:cubicBezTo>
                    <a:cubicBezTo>
                      <a:pt x="976344" y="651204"/>
                      <a:pt x="976344" y="651204"/>
                      <a:pt x="977058" y="650488"/>
                    </a:cubicBezTo>
                    <a:cubicBezTo>
                      <a:pt x="977058" y="650488"/>
                      <a:pt x="977058" y="650488"/>
                      <a:pt x="988485" y="636901"/>
                    </a:cubicBezTo>
                    <a:cubicBezTo>
                      <a:pt x="992056" y="633325"/>
                      <a:pt x="995628" y="630464"/>
                      <a:pt x="999199" y="627604"/>
                    </a:cubicBezTo>
                    <a:cubicBezTo>
                      <a:pt x="1004912" y="623313"/>
                      <a:pt x="1010626" y="620452"/>
                      <a:pt x="1017054" y="618307"/>
                    </a:cubicBezTo>
                    <a:cubicBezTo>
                      <a:pt x="1024911" y="614731"/>
                      <a:pt x="1032767" y="613301"/>
                      <a:pt x="1041338" y="613301"/>
                    </a:cubicBezTo>
                    <a:cubicBezTo>
                      <a:pt x="1057765" y="613301"/>
                      <a:pt x="1074906" y="619737"/>
                      <a:pt x="1088477" y="631895"/>
                    </a:cubicBezTo>
                    <a:cubicBezTo>
                      <a:pt x="1116331" y="656925"/>
                      <a:pt x="1119188" y="700549"/>
                      <a:pt x="1094905" y="729155"/>
                    </a:cubicBezTo>
                    <a:cubicBezTo>
                      <a:pt x="1094905" y="729155"/>
                      <a:pt x="1094905" y="729155"/>
                      <a:pt x="1047766" y="784221"/>
                    </a:cubicBezTo>
                    <a:cubicBezTo>
                      <a:pt x="987771" y="855021"/>
                      <a:pt x="909207" y="907942"/>
                      <a:pt x="820643" y="935118"/>
                    </a:cubicBezTo>
                    <a:cubicBezTo>
                      <a:pt x="820643" y="935118"/>
                      <a:pt x="820643" y="935118"/>
                      <a:pt x="807787" y="939409"/>
                    </a:cubicBezTo>
                    <a:cubicBezTo>
                      <a:pt x="740650" y="960148"/>
                      <a:pt x="671370" y="970875"/>
                      <a:pt x="601376" y="970875"/>
                    </a:cubicBezTo>
                    <a:cubicBezTo>
                      <a:pt x="584949" y="970875"/>
                      <a:pt x="568522" y="970160"/>
                      <a:pt x="552095" y="968730"/>
                    </a:cubicBezTo>
                    <a:cubicBezTo>
                      <a:pt x="552095" y="968730"/>
                      <a:pt x="552095" y="968730"/>
                      <a:pt x="431391" y="960148"/>
                    </a:cubicBezTo>
                    <a:cubicBezTo>
                      <a:pt x="427106" y="960148"/>
                      <a:pt x="422106" y="959433"/>
                      <a:pt x="417107" y="959433"/>
                    </a:cubicBezTo>
                    <a:cubicBezTo>
                      <a:pt x="392109" y="959433"/>
                      <a:pt x="367111" y="964439"/>
                      <a:pt x="343542" y="973736"/>
                    </a:cubicBezTo>
                    <a:cubicBezTo>
                      <a:pt x="343542" y="973736"/>
                      <a:pt x="343542" y="973736"/>
                      <a:pt x="21427" y="1098172"/>
                    </a:cubicBezTo>
                    <a:cubicBezTo>
                      <a:pt x="19999" y="1098887"/>
                      <a:pt x="17856" y="1099602"/>
                      <a:pt x="15713" y="1099602"/>
                    </a:cubicBezTo>
                    <a:cubicBezTo>
                      <a:pt x="7142" y="1099602"/>
                      <a:pt x="0" y="1092451"/>
                      <a:pt x="0" y="1083154"/>
                    </a:cubicBezTo>
                    <a:cubicBezTo>
                      <a:pt x="0" y="1083154"/>
                      <a:pt x="0" y="1083154"/>
                      <a:pt x="0" y="793518"/>
                    </a:cubicBezTo>
                    <a:cubicBezTo>
                      <a:pt x="0" y="787797"/>
                      <a:pt x="2857" y="782076"/>
                      <a:pt x="7857" y="779930"/>
                    </a:cubicBezTo>
                    <a:cubicBezTo>
                      <a:pt x="7857" y="779930"/>
                      <a:pt x="7857" y="779930"/>
                      <a:pt x="307116" y="609010"/>
                    </a:cubicBezTo>
                    <a:cubicBezTo>
                      <a:pt x="324258" y="598998"/>
                      <a:pt x="343542" y="592561"/>
                      <a:pt x="362826" y="588986"/>
                    </a:cubicBezTo>
                    <a:cubicBezTo>
                      <a:pt x="367825" y="588270"/>
                      <a:pt x="372825" y="587555"/>
                      <a:pt x="378539" y="586840"/>
                    </a:cubicBezTo>
                    <a:close/>
                    <a:moveTo>
                      <a:pt x="636066" y="179"/>
                    </a:moveTo>
                    <a:cubicBezTo>
                      <a:pt x="636066" y="179"/>
                      <a:pt x="636066" y="179"/>
                      <a:pt x="745933" y="179"/>
                    </a:cubicBezTo>
                    <a:cubicBezTo>
                      <a:pt x="750214" y="-535"/>
                      <a:pt x="771617" y="179"/>
                      <a:pt x="782318" y="15891"/>
                    </a:cubicBezTo>
                    <a:cubicBezTo>
                      <a:pt x="785172" y="20890"/>
                      <a:pt x="786599" y="26604"/>
                      <a:pt x="786599" y="32317"/>
                    </a:cubicBezTo>
                    <a:cubicBezTo>
                      <a:pt x="860081" y="65170"/>
                      <a:pt x="857228" y="83025"/>
                      <a:pt x="855801" y="90881"/>
                    </a:cubicBezTo>
                    <a:cubicBezTo>
                      <a:pt x="853661" y="103736"/>
                      <a:pt x="831544" y="130161"/>
                      <a:pt x="789452" y="169441"/>
                    </a:cubicBezTo>
                    <a:cubicBezTo>
                      <a:pt x="789452" y="169441"/>
                      <a:pt x="789452" y="169441"/>
                      <a:pt x="788739" y="170155"/>
                    </a:cubicBezTo>
                    <a:cubicBezTo>
                      <a:pt x="786599" y="172298"/>
                      <a:pt x="781605" y="178011"/>
                      <a:pt x="782318" y="181582"/>
                    </a:cubicBezTo>
                    <a:cubicBezTo>
                      <a:pt x="782318" y="183010"/>
                      <a:pt x="783745" y="185153"/>
                      <a:pt x="785885" y="187296"/>
                    </a:cubicBezTo>
                    <a:cubicBezTo>
                      <a:pt x="788739" y="189438"/>
                      <a:pt x="1018462" y="389410"/>
                      <a:pt x="1018462" y="572241"/>
                    </a:cubicBezTo>
                    <a:cubicBezTo>
                      <a:pt x="1019175" y="573670"/>
                      <a:pt x="1019175" y="577955"/>
                      <a:pt x="1019175" y="584382"/>
                    </a:cubicBezTo>
                    <a:cubicBezTo>
                      <a:pt x="1013468" y="585811"/>
                      <a:pt x="1008474" y="587239"/>
                      <a:pt x="1003480" y="589382"/>
                    </a:cubicBezTo>
                    <a:cubicBezTo>
                      <a:pt x="997772" y="591524"/>
                      <a:pt x="992065" y="594381"/>
                      <a:pt x="987071" y="597952"/>
                    </a:cubicBezTo>
                    <a:cubicBezTo>
                      <a:pt x="988498" y="583668"/>
                      <a:pt x="987784" y="574384"/>
                      <a:pt x="987784" y="574384"/>
                    </a:cubicBezTo>
                    <a:cubicBezTo>
                      <a:pt x="987784" y="574384"/>
                      <a:pt x="987784" y="574384"/>
                      <a:pt x="987071" y="572955"/>
                    </a:cubicBezTo>
                    <a:cubicBezTo>
                      <a:pt x="987071" y="426547"/>
                      <a:pt x="812995" y="250858"/>
                      <a:pt x="765909" y="211578"/>
                    </a:cubicBezTo>
                    <a:cubicBezTo>
                      <a:pt x="753781" y="200865"/>
                      <a:pt x="750927" y="189438"/>
                      <a:pt x="750927" y="181582"/>
                    </a:cubicBezTo>
                    <a:cubicBezTo>
                      <a:pt x="750214" y="163013"/>
                      <a:pt x="765196" y="148730"/>
                      <a:pt x="768049" y="146587"/>
                    </a:cubicBezTo>
                    <a:cubicBezTo>
                      <a:pt x="789452" y="125876"/>
                      <a:pt x="814422" y="100165"/>
                      <a:pt x="822983" y="88738"/>
                    </a:cubicBezTo>
                    <a:cubicBezTo>
                      <a:pt x="815136" y="82310"/>
                      <a:pt x="796586" y="71598"/>
                      <a:pt x="776611" y="63027"/>
                    </a:cubicBezTo>
                    <a:cubicBezTo>
                      <a:pt x="759488" y="95880"/>
                      <a:pt x="750927" y="115163"/>
                      <a:pt x="750927" y="115163"/>
                    </a:cubicBezTo>
                    <a:cubicBezTo>
                      <a:pt x="748074" y="120876"/>
                      <a:pt x="742366" y="124447"/>
                      <a:pt x="736659" y="124447"/>
                    </a:cubicBezTo>
                    <a:cubicBezTo>
                      <a:pt x="734518" y="124447"/>
                      <a:pt x="732378" y="123733"/>
                      <a:pt x="730238" y="123019"/>
                    </a:cubicBezTo>
                    <a:cubicBezTo>
                      <a:pt x="724531" y="120162"/>
                      <a:pt x="720963" y="114449"/>
                      <a:pt x="720963" y="108735"/>
                    </a:cubicBezTo>
                    <a:cubicBezTo>
                      <a:pt x="720963" y="106593"/>
                      <a:pt x="721677" y="104450"/>
                      <a:pt x="722390" y="102308"/>
                    </a:cubicBezTo>
                    <a:cubicBezTo>
                      <a:pt x="722390" y="101593"/>
                      <a:pt x="731665" y="80882"/>
                      <a:pt x="750214" y="46601"/>
                    </a:cubicBezTo>
                    <a:cubicBezTo>
                      <a:pt x="750927" y="45173"/>
                      <a:pt x="750927" y="44459"/>
                      <a:pt x="751641" y="43030"/>
                    </a:cubicBezTo>
                    <a:cubicBezTo>
                      <a:pt x="755208" y="37317"/>
                      <a:pt x="755208" y="33746"/>
                      <a:pt x="755208" y="33032"/>
                    </a:cubicBezTo>
                    <a:cubicBezTo>
                      <a:pt x="753781" y="32317"/>
                      <a:pt x="749500" y="31603"/>
                      <a:pt x="746647" y="31603"/>
                    </a:cubicBezTo>
                    <a:cubicBezTo>
                      <a:pt x="746647" y="31603"/>
                      <a:pt x="746647" y="31603"/>
                      <a:pt x="745933" y="31603"/>
                    </a:cubicBezTo>
                    <a:cubicBezTo>
                      <a:pt x="745933" y="31603"/>
                      <a:pt x="745933" y="31603"/>
                      <a:pt x="636066" y="31603"/>
                    </a:cubicBezTo>
                    <a:cubicBezTo>
                      <a:pt x="635352" y="31603"/>
                      <a:pt x="635352" y="31603"/>
                      <a:pt x="634639" y="31603"/>
                    </a:cubicBezTo>
                    <a:cubicBezTo>
                      <a:pt x="632499" y="31603"/>
                      <a:pt x="628218" y="32317"/>
                      <a:pt x="626791" y="33032"/>
                    </a:cubicBezTo>
                    <a:cubicBezTo>
                      <a:pt x="626791" y="33746"/>
                      <a:pt x="626791" y="37317"/>
                      <a:pt x="630358" y="43030"/>
                    </a:cubicBezTo>
                    <a:cubicBezTo>
                      <a:pt x="631072" y="44459"/>
                      <a:pt x="631072" y="45173"/>
                      <a:pt x="631785" y="46601"/>
                    </a:cubicBezTo>
                    <a:cubicBezTo>
                      <a:pt x="650334" y="80882"/>
                      <a:pt x="659609" y="101593"/>
                      <a:pt x="659609" y="102308"/>
                    </a:cubicBezTo>
                    <a:cubicBezTo>
                      <a:pt x="660322" y="104450"/>
                      <a:pt x="661036" y="106593"/>
                      <a:pt x="661036" y="108735"/>
                    </a:cubicBezTo>
                    <a:cubicBezTo>
                      <a:pt x="661036" y="114449"/>
                      <a:pt x="657469" y="120162"/>
                      <a:pt x="651761" y="123019"/>
                    </a:cubicBezTo>
                    <a:cubicBezTo>
                      <a:pt x="643913" y="126590"/>
                      <a:pt x="634639" y="123019"/>
                      <a:pt x="631072" y="115163"/>
                    </a:cubicBezTo>
                    <a:cubicBezTo>
                      <a:pt x="631072" y="115163"/>
                      <a:pt x="622511" y="95880"/>
                      <a:pt x="605388" y="63027"/>
                    </a:cubicBezTo>
                    <a:cubicBezTo>
                      <a:pt x="585413" y="71598"/>
                      <a:pt x="566863" y="82310"/>
                      <a:pt x="559016" y="88738"/>
                    </a:cubicBezTo>
                    <a:cubicBezTo>
                      <a:pt x="567577" y="100165"/>
                      <a:pt x="592547" y="125876"/>
                      <a:pt x="613950" y="146587"/>
                    </a:cubicBezTo>
                    <a:cubicBezTo>
                      <a:pt x="616803" y="148730"/>
                      <a:pt x="631785" y="163013"/>
                      <a:pt x="631072" y="181582"/>
                    </a:cubicBezTo>
                    <a:cubicBezTo>
                      <a:pt x="631072" y="189438"/>
                      <a:pt x="628218" y="200865"/>
                      <a:pt x="616090" y="211578"/>
                    </a:cubicBezTo>
                    <a:cubicBezTo>
                      <a:pt x="571144" y="249430"/>
                      <a:pt x="408483" y="412264"/>
                      <a:pt x="395641" y="555101"/>
                    </a:cubicBezTo>
                    <a:cubicBezTo>
                      <a:pt x="394928" y="555101"/>
                      <a:pt x="394215" y="555101"/>
                      <a:pt x="393501" y="555101"/>
                    </a:cubicBezTo>
                    <a:cubicBezTo>
                      <a:pt x="388507" y="555101"/>
                      <a:pt x="384227" y="555101"/>
                      <a:pt x="379946" y="555815"/>
                    </a:cubicBezTo>
                    <a:cubicBezTo>
                      <a:pt x="374239" y="555815"/>
                      <a:pt x="369245" y="556529"/>
                      <a:pt x="363537" y="557243"/>
                    </a:cubicBezTo>
                    <a:cubicBezTo>
                      <a:pt x="376379" y="378697"/>
                      <a:pt x="593974" y="189438"/>
                      <a:pt x="596114" y="187296"/>
                    </a:cubicBezTo>
                    <a:cubicBezTo>
                      <a:pt x="598254" y="185153"/>
                      <a:pt x="599681" y="183010"/>
                      <a:pt x="599681" y="181582"/>
                    </a:cubicBezTo>
                    <a:cubicBezTo>
                      <a:pt x="599681" y="177297"/>
                      <a:pt x="595401" y="171583"/>
                      <a:pt x="593260" y="170155"/>
                    </a:cubicBezTo>
                    <a:cubicBezTo>
                      <a:pt x="593260" y="170155"/>
                      <a:pt x="593260" y="170155"/>
                      <a:pt x="592547" y="169441"/>
                    </a:cubicBezTo>
                    <a:cubicBezTo>
                      <a:pt x="550455" y="130161"/>
                      <a:pt x="528339" y="103736"/>
                      <a:pt x="526198" y="90881"/>
                    </a:cubicBezTo>
                    <a:cubicBezTo>
                      <a:pt x="524771" y="83025"/>
                      <a:pt x="521918" y="65170"/>
                      <a:pt x="595401" y="32317"/>
                    </a:cubicBezTo>
                    <a:cubicBezTo>
                      <a:pt x="595401" y="26604"/>
                      <a:pt x="596827" y="20890"/>
                      <a:pt x="599681" y="15891"/>
                    </a:cubicBezTo>
                    <a:cubicBezTo>
                      <a:pt x="610382" y="179"/>
                      <a:pt x="631785" y="-535"/>
                      <a:pt x="636066" y="179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69663" name="Group 62"/>
          <p:cNvGrpSpPr>
            <a:grpSpLocks noChangeAspect="1"/>
          </p:cNvGrpSpPr>
          <p:nvPr/>
        </p:nvGrpSpPr>
        <p:grpSpPr bwMode="auto">
          <a:xfrm>
            <a:off x="5311775" y="3090863"/>
            <a:ext cx="687388" cy="687387"/>
            <a:chOff x="5273801" y="2606040"/>
            <a:chExt cx="1644396" cy="1645920"/>
          </a:xfrm>
        </p:grpSpPr>
        <p:sp>
          <p:nvSpPr>
            <p:cNvPr id="69673" name="AutoShape 23"/>
            <p:cNvSpPr>
              <a:spLocks noChangeAspect="1" noChangeArrowheads="1" noTextEdit="1"/>
            </p:cNvSpPr>
            <p:nvPr/>
          </p:nvSpPr>
          <p:spPr bwMode="auto">
            <a:xfrm>
              <a:off x="5273801" y="2606040"/>
              <a:ext cx="1644396" cy="16459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69674" name="Group 64"/>
            <p:cNvGrpSpPr>
              <a:grpSpLocks/>
            </p:cNvGrpSpPr>
            <p:nvPr/>
          </p:nvGrpSpPr>
          <p:grpSpPr bwMode="auto">
            <a:xfrm>
              <a:off x="5343905" y="2928366"/>
              <a:ext cx="1505712" cy="995553"/>
              <a:chOff x="5343905" y="2928366"/>
              <a:chExt cx="1505712" cy="995553"/>
            </a:xfrm>
          </p:grpSpPr>
          <p:sp>
            <p:nvSpPr>
              <p:cNvPr id="69675" name="Freeform 25"/>
              <p:cNvSpPr>
                <a:spLocks noEditPoints="1"/>
              </p:cNvSpPr>
              <p:nvPr/>
            </p:nvSpPr>
            <p:spPr bwMode="auto">
              <a:xfrm>
                <a:off x="5696330" y="2928366"/>
                <a:ext cx="1153287" cy="654177"/>
              </a:xfrm>
              <a:custGeom>
                <a:avLst/>
                <a:gdLst>
                  <a:gd name="T0" fmla="*/ 1149005 w 1616"/>
                  <a:gd name="T1" fmla="*/ 258528 h 916"/>
                  <a:gd name="T2" fmla="*/ 1107612 w 1616"/>
                  <a:gd name="T3" fmla="*/ 233533 h 916"/>
                  <a:gd name="T4" fmla="*/ 1091912 w 1616"/>
                  <a:gd name="T5" fmla="*/ 186398 h 916"/>
                  <a:gd name="T6" fmla="*/ 1066933 w 1616"/>
                  <a:gd name="T7" fmla="*/ 139977 h 916"/>
                  <a:gd name="T8" fmla="*/ 1076211 w 1616"/>
                  <a:gd name="T9" fmla="*/ 92842 h 916"/>
                  <a:gd name="T10" fmla="*/ 977011 w 1616"/>
                  <a:gd name="T11" fmla="*/ 19997 h 916"/>
                  <a:gd name="T12" fmla="*/ 934191 w 1616"/>
                  <a:gd name="T13" fmla="*/ 44278 h 916"/>
                  <a:gd name="T14" fmla="*/ 840701 w 1616"/>
                  <a:gd name="T15" fmla="*/ 33566 h 916"/>
                  <a:gd name="T16" fmla="*/ 804304 w 1616"/>
                  <a:gd name="T17" fmla="*/ 0 h 916"/>
                  <a:gd name="T18" fmla="*/ 744356 w 1616"/>
                  <a:gd name="T19" fmla="*/ 18568 h 916"/>
                  <a:gd name="T20" fmla="*/ 690117 w 1616"/>
                  <a:gd name="T21" fmla="*/ 49278 h 916"/>
                  <a:gd name="T22" fmla="*/ 690117 w 1616"/>
                  <a:gd name="T23" fmla="*/ 99983 h 916"/>
                  <a:gd name="T24" fmla="*/ 632310 w 1616"/>
                  <a:gd name="T25" fmla="*/ 175685 h 916"/>
                  <a:gd name="T26" fmla="*/ 585921 w 1616"/>
                  <a:gd name="T27" fmla="*/ 190683 h 916"/>
                  <a:gd name="T28" fmla="*/ 569507 w 1616"/>
                  <a:gd name="T29" fmla="*/ 314948 h 916"/>
                  <a:gd name="T30" fmla="*/ 610900 w 1616"/>
                  <a:gd name="T31" fmla="*/ 339229 h 916"/>
                  <a:gd name="T32" fmla="*/ 627314 w 1616"/>
                  <a:gd name="T33" fmla="*/ 389935 h 916"/>
                  <a:gd name="T34" fmla="*/ 650865 w 1616"/>
                  <a:gd name="T35" fmla="*/ 433499 h 916"/>
                  <a:gd name="T36" fmla="*/ 639446 w 1616"/>
                  <a:gd name="T37" fmla="*/ 480634 h 916"/>
                  <a:gd name="T38" fmla="*/ 735792 w 1616"/>
                  <a:gd name="T39" fmla="*/ 554908 h 916"/>
                  <a:gd name="T40" fmla="*/ 777184 w 1616"/>
                  <a:gd name="T41" fmla="*/ 530626 h 916"/>
                  <a:gd name="T42" fmla="*/ 882093 w 1616"/>
                  <a:gd name="T43" fmla="*/ 544195 h 916"/>
                  <a:gd name="T44" fmla="*/ 918490 w 1616"/>
                  <a:gd name="T45" fmla="*/ 577047 h 916"/>
                  <a:gd name="T46" fmla="*/ 974870 w 1616"/>
                  <a:gd name="T47" fmla="*/ 559193 h 916"/>
                  <a:gd name="T48" fmla="*/ 1027682 w 1616"/>
                  <a:gd name="T49" fmla="*/ 529198 h 916"/>
                  <a:gd name="T50" fmla="*/ 1027682 w 1616"/>
                  <a:gd name="T51" fmla="*/ 480634 h 916"/>
                  <a:gd name="T52" fmla="*/ 1090484 w 1616"/>
                  <a:gd name="T53" fmla="*/ 394220 h 916"/>
                  <a:gd name="T54" fmla="*/ 1135445 w 1616"/>
                  <a:gd name="T55" fmla="*/ 379937 h 916"/>
                  <a:gd name="T56" fmla="*/ 1149005 w 1616"/>
                  <a:gd name="T57" fmla="*/ 258528 h 916"/>
                  <a:gd name="T58" fmla="*/ 910640 w 1616"/>
                  <a:gd name="T59" fmla="*/ 406361 h 916"/>
                  <a:gd name="T60" fmla="*/ 742928 w 1616"/>
                  <a:gd name="T61" fmla="*/ 339229 h 916"/>
                  <a:gd name="T62" fmla="*/ 808586 w 1616"/>
                  <a:gd name="T63" fmla="*/ 170686 h 916"/>
                  <a:gd name="T64" fmla="*/ 975584 w 1616"/>
                  <a:gd name="T65" fmla="*/ 237818 h 916"/>
                  <a:gd name="T66" fmla="*/ 910640 w 1616"/>
                  <a:gd name="T67" fmla="*/ 406361 h 916"/>
                  <a:gd name="T68" fmla="*/ 133456 w 1616"/>
                  <a:gd name="T69" fmla="*/ 654177 h 916"/>
                  <a:gd name="T70" fmla="*/ 0 w 1616"/>
                  <a:gd name="T71" fmla="*/ 520628 h 916"/>
                  <a:gd name="T72" fmla="*/ 133456 w 1616"/>
                  <a:gd name="T73" fmla="*/ 386364 h 916"/>
                  <a:gd name="T74" fmla="*/ 267625 w 1616"/>
                  <a:gd name="T75" fmla="*/ 520628 h 916"/>
                  <a:gd name="T76" fmla="*/ 133456 w 1616"/>
                  <a:gd name="T77" fmla="*/ 654177 h 91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616"/>
                  <a:gd name="T118" fmla="*/ 0 h 916"/>
                  <a:gd name="T119" fmla="*/ 1616 w 1616"/>
                  <a:gd name="T120" fmla="*/ 916 h 91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616" h="916">
                    <a:moveTo>
                      <a:pt x="1610" y="362"/>
                    </a:moveTo>
                    <a:cubicBezTo>
                      <a:pt x="1552" y="327"/>
                      <a:pt x="1552" y="327"/>
                      <a:pt x="1552" y="327"/>
                    </a:cubicBezTo>
                    <a:cubicBezTo>
                      <a:pt x="1547" y="305"/>
                      <a:pt x="1539" y="283"/>
                      <a:pt x="1530" y="261"/>
                    </a:cubicBezTo>
                    <a:cubicBezTo>
                      <a:pt x="1521" y="239"/>
                      <a:pt x="1508" y="217"/>
                      <a:pt x="1495" y="196"/>
                    </a:cubicBezTo>
                    <a:cubicBezTo>
                      <a:pt x="1508" y="130"/>
                      <a:pt x="1508" y="130"/>
                      <a:pt x="1508" y="130"/>
                    </a:cubicBezTo>
                    <a:cubicBezTo>
                      <a:pt x="1470" y="87"/>
                      <a:pt x="1421" y="51"/>
                      <a:pt x="1369" y="28"/>
                    </a:cubicBezTo>
                    <a:cubicBezTo>
                      <a:pt x="1309" y="62"/>
                      <a:pt x="1309" y="62"/>
                      <a:pt x="1309" y="62"/>
                    </a:cubicBezTo>
                    <a:cubicBezTo>
                      <a:pt x="1266" y="48"/>
                      <a:pt x="1223" y="43"/>
                      <a:pt x="1178" y="47"/>
                    </a:cubicBezTo>
                    <a:cubicBezTo>
                      <a:pt x="1127" y="0"/>
                      <a:pt x="1127" y="0"/>
                      <a:pt x="1127" y="0"/>
                    </a:cubicBezTo>
                    <a:cubicBezTo>
                      <a:pt x="1099" y="6"/>
                      <a:pt x="1071" y="13"/>
                      <a:pt x="1043" y="26"/>
                    </a:cubicBezTo>
                    <a:cubicBezTo>
                      <a:pt x="1016" y="38"/>
                      <a:pt x="989" y="53"/>
                      <a:pt x="967" y="69"/>
                    </a:cubicBezTo>
                    <a:cubicBezTo>
                      <a:pt x="967" y="140"/>
                      <a:pt x="967" y="140"/>
                      <a:pt x="967" y="140"/>
                    </a:cubicBezTo>
                    <a:cubicBezTo>
                      <a:pt x="933" y="171"/>
                      <a:pt x="905" y="206"/>
                      <a:pt x="886" y="246"/>
                    </a:cubicBezTo>
                    <a:cubicBezTo>
                      <a:pt x="821" y="267"/>
                      <a:pt x="821" y="267"/>
                      <a:pt x="821" y="267"/>
                    </a:cubicBezTo>
                    <a:cubicBezTo>
                      <a:pt x="801" y="321"/>
                      <a:pt x="794" y="380"/>
                      <a:pt x="798" y="441"/>
                    </a:cubicBezTo>
                    <a:cubicBezTo>
                      <a:pt x="856" y="475"/>
                      <a:pt x="856" y="475"/>
                      <a:pt x="856" y="475"/>
                    </a:cubicBezTo>
                    <a:cubicBezTo>
                      <a:pt x="861" y="498"/>
                      <a:pt x="868" y="523"/>
                      <a:pt x="879" y="546"/>
                    </a:cubicBezTo>
                    <a:cubicBezTo>
                      <a:pt x="889" y="567"/>
                      <a:pt x="899" y="588"/>
                      <a:pt x="912" y="607"/>
                    </a:cubicBezTo>
                    <a:cubicBezTo>
                      <a:pt x="896" y="673"/>
                      <a:pt x="896" y="673"/>
                      <a:pt x="896" y="673"/>
                    </a:cubicBezTo>
                    <a:cubicBezTo>
                      <a:pt x="934" y="718"/>
                      <a:pt x="980" y="752"/>
                      <a:pt x="1031" y="777"/>
                    </a:cubicBezTo>
                    <a:cubicBezTo>
                      <a:pt x="1089" y="743"/>
                      <a:pt x="1089" y="743"/>
                      <a:pt x="1089" y="743"/>
                    </a:cubicBezTo>
                    <a:cubicBezTo>
                      <a:pt x="1136" y="760"/>
                      <a:pt x="1185" y="766"/>
                      <a:pt x="1236" y="762"/>
                    </a:cubicBezTo>
                    <a:cubicBezTo>
                      <a:pt x="1287" y="808"/>
                      <a:pt x="1287" y="808"/>
                      <a:pt x="1287" y="808"/>
                    </a:cubicBezTo>
                    <a:cubicBezTo>
                      <a:pt x="1312" y="802"/>
                      <a:pt x="1340" y="794"/>
                      <a:pt x="1366" y="783"/>
                    </a:cubicBezTo>
                    <a:cubicBezTo>
                      <a:pt x="1392" y="771"/>
                      <a:pt x="1416" y="757"/>
                      <a:pt x="1440" y="741"/>
                    </a:cubicBezTo>
                    <a:cubicBezTo>
                      <a:pt x="1440" y="673"/>
                      <a:pt x="1440" y="673"/>
                      <a:pt x="1440" y="673"/>
                    </a:cubicBezTo>
                    <a:cubicBezTo>
                      <a:pt x="1477" y="639"/>
                      <a:pt x="1507" y="597"/>
                      <a:pt x="1528" y="552"/>
                    </a:cubicBezTo>
                    <a:cubicBezTo>
                      <a:pt x="1591" y="532"/>
                      <a:pt x="1591" y="532"/>
                      <a:pt x="1591" y="532"/>
                    </a:cubicBezTo>
                    <a:cubicBezTo>
                      <a:pt x="1610" y="479"/>
                      <a:pt x="1616" y="420"/>
                      <a:pt x="1610" y="362"/>
                    </a:cubicBezTo>
                    <a:close/>
                    <a:moveTo>
                      <a:pt x="1276" y="569"/>
                    </a:moveTo>
                    <a:cubicBezTo>
                      <a:pt x="1185" y="610"/>
                      <a:pt x="1080" y="566"/>
                      <a:pt x="1041" y="475"/>
                    </a:cubicBezTo>
                    <a:cubicBezTo>
                      <a:pt x="1002" y="383"/>
                      <a:pt x="1043" y="278"/>
                      <a:pt x="1133" y="239"/>
                    </a:cubicBezTo>
                    <a:cubicBezTo>
                      <a:pt x="1224" y="199"/>
                      <a:pt x="1330" y="242"/>
                      <a:pt x="1367" y="333"/>
                    </a:cubicBezTo>
                    <a:cubicBezTo>
                      <a:pt x="1407" y="424"/>
                      <a:pt x="1366" y="531"/>
                      <a:pt x="1276" y="569"/>
                    </a:cubicBezTo>
                    <a:close/>
                    <a:moveTo>
                      <a:pt x="187" y="916"/>
                    </a:moveTo>
                    <a:cubicBezTo>
                      <a:pt x="84" y="916"/>
                      <a:pt x="0" y="832"/>
                      <a:pt x="0" y="729"/>
                    </a:cubicBezTo>
                    <a:cubicBezTo>
                      <a:pt x="0" y="625"/>
                      <a:pt x="84" y="541"/>
                      <a:pt x="187" y="541"/>
                    </a:cubicBezTo>
                    <a:cubicBezTo>
                      <a:pt x="291" y="541"/>
                      <a:pt x="375" y="625"/>
                      <a:pt x="375" y="729"/>
                    </a:cubicBezTo>
                    <a:cubicBezTo>
                      <a:pt x="375" y="832"/>
                      <a:pt x="291" y="916"/>
                      <a:pt x="187" y="916"/>
                    </a:cubicBezTo>
                    <a:close/>
                  </a:path>
                </a:pathLst>
              </a:custGeom>
              <a:solidFill>
                <a:srgbClr val="98A6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69676" name="Freeform 26"/>
              <p:cNvSpPr>
                <a:spLocks noEditPoints="1"/>
              </p:cNvSpPr>
              <p:nvPr/>
            </p:nvSpPr>
            <p:spPr bwMode="auto">
              <a:xfrm>
                <a:off x="5343905" y="2961132"/>
                <a:ext cx="971931" cy="962787"/>
              </a:xfrm>
              <a:custGeom>
                <a:avLst/>
                <a:gdLst>
                  <a:gd name="T0" fmla="*/ 455280 w 1362"/>
                  <a:gd name="T1" fmla="*/ 887078 h 1348"/>
                  <a:gd name="T2" fmla="*/ 319695 w 1362"/>
                  <a:gd name="T3" fmla="*/ 942074 h 1348"/>
                  <a:gd name="T4" fmla="*/ 251189 w 1362"/>
                  <a:gd name="T5" fmla="*/ 818512 h 1348"/>
                  <a:gd name="T6" fmla="*/ 100618 w 1362"/>
                  <a:gd name="T7" fmla="*/ 782086 h 1348"/>
                  <a:gd name="T8" fmla="*/ 32826 w 1362"/>
                  <a:gd name="T9" fmla="*/ 662809 h 1348"/>
                  <a:gd name="T10" fmla="*/ 0 w 1362"/>
                  <a:gd name="T11" fmla="*/ 474251 h 1348"/>
                  <a:gd name="T12" fmla="*/ 22835 w 1362"/>
                  <a:gd name="T13" fmla="*/ 338547 h 1348"/>
                  <a:gd name="T14" fmla="*/ 151284 w 1362"/>
                  <a:gd name="T15" fmla="*/ 250696 h 1348"/>
                  <a:gd name="T16" fmla="*/ 174120 w 1362"/>
                  <a:gd name="T17" fmla="*/ 113563 h 1348"/>
                  <a:gd name="T18" fmla="*/ 321836 w 1362"/>
                  <a:gd name="T19" fmla="*/ 119277 h 1348"/>
                  <a:gd name="T20" fmla="*/ 422455 w 1362"/>
                  <a:gd name="T21" fmla="*/ 3571 h 1348"/>
                  <a:gd name="T22" fmla="*/ 559467 w 1362"/>
                  <a:gd name="T23" fmla="*/ 4285 h 1348"/>
                  <a:gd name="T24" fmla="*/ 739296 w 1362"/>
                  <a:gd name="T25" fmla="*/ 69995 h 1348"/>
                  <a:gd name="T26" fmla="*/ 844909 w 1362"/>
                  <a:gd name="T27" fmla="*/ 157131 h 1348"/>
                  <a:gd name="T28" fmla="*/ 860609 w 1362"/>
                  <a:gd name="T29" fmla="*/ 314263 h 1348"/>
                  <a:gd name="T30" fmla="*/ 964081 w 1362"/>
                  <a:gd name="T31" fmla="*/ 401399 h 1348"/>
                  <a:gd name="T32" fmla="*/ 900570 w 1362"/>
                  <a:gd name="T33" fmla="*/ 517105 h 1348"/>
                  <a:gd name="T34" fmla="*/ 934824 w 1362"/>
                  <a:gd name="T35" fmla="*/ 671380 h 1348"/>
                  <a:gd name="T36" fmla="*/ 865604 w 1362"/>
                  <a:gd name="T37" fmla="*/ 789943 h 1348"/>
                  <a:gd name="T38" fmla="*/ 719314 w 1362"/>
                  <a:gd name="T39" fmla="*/ 912791 h 1348"/>
                  <a:gd name="T40" fmla="*/ 590866 w 1362"/>
                  <a:gd name="T41" fmla="*/ 960644 h 1348"/>
                  <a:gd name="T42" fmla="*/ 592293 w 1362"/>
                  <a:gd name="T43" fmla="*/ 927790 h 1348"/>
                  <a:gd name="T44" fmla="*/ 688629 w 1362"/>
                  <a:gd name="T45" fmla="*/ 801370 h 1348"/>
                  <a:gd name="T46" fmla="*/ 764985 w 1362"/>
                  <a:gd name="T47" fmla="*/ 741375 h 1348"/>
                  <a:gd name="T48" fmla="*/ 901998 w 1362"/>
                  <a:gd name="T49" fmla="*/ 667808 h 1348"/>
                  <a:gd name="T50" fmla="*/ 869885 w 1362"/>
                  <a:gd name="T51" fmla="*/ 507106 h 1348"/>
                  <a:gd name="T52" fmla="*/ 933396 w 1362"/>
                  <a:gd name="T53" fmla="*/ 407113 h 1348"/>
                  <a:gd name="T54" fmla="*/ 835632 w 1362"/>
                  <a:gd name="T55" fmla="*/ 334976 h 1348"/>
                  <a:gd name="T56" fmla="*/ 814938 w 1362"/>
                  <a:gd name="T57" fmla="*/ 172130 h 1348"/>
                  <a:gd name="T58" fmla="*/ 652949 w 1362"/>
                  <a:gd name="T59" fmla="*/ 154989 h 1348"/>
                  <a:gd name="T60" fmla="*/ 572312 w 1362"/>
                  <a:gd name="T61" fmla="*/ 127848 h 1348"/>
                  <a:gd name="T62" fmla="*/ 435300 w 1362"/>
                  <a:gd name="T63" fmla="*/ 33569 h 1348"/>
                  <a:gd name="T64" fmla="*/ 326831 w 1362"/>
                  <a:gd name="T65" fmla="*/ 151418 h 1348"/>
                  <a:gd name="T66" fmla="*/ 194101 w 1362"/>
                  <a:gd name="T67" fmla="*/ 137133 h 1348"/>
                  <a:gd name="T68" fmla="*/ 181256 w 1362"/>
                  <a:gd name="T69" fmla="*/ 263552 h 1348"/>
                  <a:gd name="T70" fmla="*/ 49952 w 1362"/>
                  <a:gd name="T71" fmla="*/ 357117 h 1348"/>
                  <a:gd name="T72" fmla="*/ 102046 w 1362"/>
                  <a:gd name="T73" fmla="*/ 498535 h 1348"/>
                  <a:gd name="T74" fmla="*/ 121313 w 1362"/>
                  <a:gd name="T75" fmla="*/ 604242 h 1348"/>
                  <a:gd name="T76" fmla="*/ 119886 w 1362"/>
                  <a:gd name="T77" fmla="*/ 755659 h 1348"/>
                  <a:gd name="T78" fmla="*/ 275452 w 1362"/>
                  <a:gd name="T79" fmla="*/ 796371 h 1348"/>
                  <a:gd name="T80" fmla="*/ 330399 w 1362"/>
                  <a:gd name="T81" fmla="*/ 912791 h 1348"/>
                  <a:gd name="T82" fmla="*/ 449572 w 1362"/>
                  <a:gd name="T83" fmla="*/ 855652 h 1348"/>
                  <a:gd name="T84" fmla="*/ 529495 w 1362"/>
                  <a:gd name="T85" fmla="*/ 854938 h 1348"/>
                  <a:gd name="T86" fmla="*/ 485966 w 1362"/>
                  <a:gd name="T87" fmla="*/ 183558 h 1348"/>
                  <a:gd name="T88" fmla="*/ 485966 w 1362"/>
                  <a:gd name="T89" fmla="*/ 214984 h 1348"/>
                  <a:gd name="T90" fmla="*/ 758563 w 1362"/>
                  <a:gd name="T91" fmla="*/ 487822 h 134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362"/>
                  <a:gd name="T139" fmla="*/ 0 h 1348"/>
                  <a:gd name="T140" fmla="*/ 1362 w 1362"/>
                  <a:gd name="T141" fmla="*/ 1348 h 1348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362" h="1348">
                    <a:moveTo>
                      <a:pt x="815" y="1348"/>
                    </a:moveTo>
                    <a:cubicBezTo>
                      <a:pt x="724" y="1242"/>
                      <a:pt x="724" y="1242"/>
                      <a:pt x="724" y="1242"/>
                    </a:cubicBezTo>
                    <a:cubicBezTo>
                      <a:pt x="695" y="1244"/>
                      <a:pt x="666" y="1244"/>
                      <a:pt x="638" y="1242"/>
                    </a:cubicBezTo>
                    <a:cubicBezTo>
                      <a:pt x="547" y="1348"/>
                      <a:pt x="547" y="1348"/>
                      <a:pt x="547" y="1348"/>
                    </a:cubicBezTo>
                    <a:cubicBezTo>
                      <a:pt x="534" y="1345"/>
                      <a:pt x="534" y="1345"/>
                      <a:pt x="534" y="1345"/>
                    </a:cubicBezTo>
                    <a:cubicBezTo>
                      <a:pt x="494" y="1336"/>
                      <a:pt x="450" y="1320"/>
                      <a:pt x="448" y="1319"/>
                    </a:cubicBezTo>
                    <a:cubicBezTo>
                      <a:pt x="446" y="1318"/>
                      <a:pt x="402" y="1302"/>
                      <a:pt x="366" y="1284"/>
                    </a:cubicBezTo>
                    <a:cubicBezTo>
                      <a:pt x="354" y="1278"/>
                      <a:pt x="354" y="1278"/>
                      <a:pt x="354" y="1278"/>
                    </a:cubicBezTo>
                    <a:cubicBezTo>
                      <a:pt x="352" y="1146"/>
                      <a:pt x="352" y="1146"/>
                      <a:pt x="352" y="1146"/>
                    </a:cubicBezTo>
                    <a:cubicBezTo>
                      <a:pt x="325" y="1128"/>
                      <a:pt x="299" y="1107"/>
                      <a:pt x="275" y="1085"/>
                    </a:cubicBezTo>
                    <a:cubicBezTo>
                      <a:pt x="149" y="1105"/>
                      <a:pt x="149" y="1105"/>
                      <a:pt x="149" y="1105"/>
                    </a:cubicBezTo>
                    <a:cubicBezTo>
                      <a:pt x="141" y="1095"/>
                      <a:pt x="141" y="1095"/>
                      <a:pt x="141" y="1095"/>
                    </a:cubicBezTo>
                    <a:cubicBezTo>
                      <a:pt x="116" y="1062"/>
                      <a:pt x="93" y="1022"/>
                      <a:pt x="92" y="1020"/>
                    </a:cubicBezTo>
                    <a:cubicBezTo>
                      <a:pt x="91" y="1018"/>
                      <a:pt x="67" y="977"/>
                      <a:pt x="51" y="940"/>
                    </a:cubicBezTo>
                    <a:cubicBezTo>
                      <a:pt x="46" y="928"/>
                      <a:pt x="46" y="928"/>
                      <a:pt x="46" y="928"/>
                    </a:cubicBezTo>
                    <a:cubicBezTo>
                      <a:pt x="121" y="836"/>
                      <a:pt x="121" y="836"/>
                      <a:pt x="121" y="836"/>
                    </a:cubicBezTo>
                    <a:cubicBezTo>
                      <a:pt x="110" y="799"/>
                      <a:pt x="104" y="762"/>
                      <a:pt x="101" y="724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1" y="650"/>
                      <a:pt x="1" y="650"/>
                      <a:pt x="1" y="650"/>
                    </a:cubicBezTo>
                    <a:cubicBezTo>
                      <a:pt x="3" y="610"/>
                      <a:pt x="11" y="564"/>
                      <a:pt x="11" y="562"/>
                    </a:cubicBezTo>
                    <a:cubicBezTo>
                      <a:pt x="12" y="560"/>
                      <a:pt x="20" y="513"/>
                      <a:pt x="32" y="474"/>
                    </a:cubicBezTo>
                    <a:cubicBezTo>
                      <a:pt x="35" y="462"/>
                      <a:pt x="35" y="462"/>
                      <a:pt x="35" y="462"/>
                    </a:cubicBezTo>
                    <a:cubicBezTo>
                      <a:pt x="157" y="439"/>
                      <a:pt x="157" y="439"/>
                      <a:pt x="157" y="439"/>
                    </a:cubicBezTo>
                    <a:cubicBezTo>
                      <a:pt x="173" y="408"/>
                      <a:pt x="191" y="378"/>
                      <a:pt x="212" y="351"/>
                    </a:cubicBezTo>
                    <a:cubicBezTo>
                      <a:pt x="170" y="230"/>
                      <a:pt x="170" y="230"/>
                      <a:pt x="170" y="230"/>
                    </a:cubicBezTo>
                    <a:cubicBezTo>
                      <a:pt x="179" y="220"/>
                      <a:pt x="179" y="220"/>
                      <a:pt x="179" y="220"/>
                    </a:cubicBezTo>
                    <a:cubicBezTo>
                      <a:pt x="206" y="190"/>
                      <a:pt x="243" y="160"/>
                      <a:pt x="244" y="159"/>
                    </a:cubicBezTo>
                    <a:cubicBezTo>
                      <a:pt x="246" y="157"/>
                      <a:pt x="282" y="127"/>
                      <a:pt x="316" y="105"/>
                    </a:cubicBezTo>
                    <a:cubicBezTo>
                      <a:pt x="327" y="98"/>
                      <a:pt x="327" y="98"/>
                      <a:pt x="327" y="98"/>
                    </a:cubicBezTo>
                    <a:cubicBezTo>
                      <a:pt x="451" y="167"/>
                      <a:pt x="451" y="167"/>
                      <a:pt x="451" y="167"/>
                    </a:cubicBezTo>
                    <a:cubicBezTo>
                      <a:pt x="476" y="157"/>
                      <a:pt x="502" y="148"/>
                      <a:pt x="528" y="142"/>
                    </a:cubicBezTo>
                    <a:cubicBezTo>
                      <a:pt x="579" y="6"/>
                      <a:pt x="579" y="6"/>
                      <a:pt x="579" y="6"/>
                    </a:cubicBezTo>
                    <a:cubicBezTo>
                      <a:pt x="592" y="5"/>
                      <a:pt x="592" y="5"/>
                      <a:pt x="592" y="5"/>
                    </a:cubicBezTo>
                    <a:cubicBezTo>
                      <a:pt x="632" y="0"/>
                      <a:pt x="679" y="0"/>
                      <a:pt x="681" y="0"/>
                    </a:cubicBezTo>
                    <a:cubicBezTo>
                      <a:pt x="683" y="0"/>
                      <a:pt x="730" y="0"/>
                      <a:pt x="771" y="5"/>
                    </a:cubicBezTo>
                    <a:cubicBezTo>
                      <a:pt x="784" y="6"/>
                      <a:pt x="784" y="6"/>
                      <a:pt x="784" y="6"/>
                    </a:cubicBezTo>
                    <a:cubicBezTo>
                      <a:pt x="835" y="142"/>
                      <a:pt x="835" y="142"/>
                      <a:pt x="835" y="142"/>
                    </a:cubicBezTo>
                    <a:cubicBezTo>
                      <a:pt x="861" y="149"/>
                      <a:pt x="887" y="157"/>
                      <a:pt x="912" y="168"/>
                    </a:cubicBezTo>
                    <a:cubicBezTo>
                      <a:pt x="1036" y="98"/>
                      <a:pt x="1036" y="98"/>
                      <a:pt x="1036" y="98"/>
                    </a:cubicBezTo>
                    <a:cubicBezTo>
                      <a:pt x="1047" y="105"/>
                      <a:pt x="1047" y="105"/>
                      <a:pt x="1047" y="105"/>
                    </a:cubicBezTo>
                    <a:cubicBezTo>
                      <a:pt x="1081" y="128"/>
                      <a:pt x="1117" y="158"/>
                      <a:pt x="1118" y="159"/>
                    </a:cubicBezTo>
                    <a:cubicBezTo>
                      <a:pt x="1120" y="160"/>
                      <a:pt x="1156" y="191"/>
                      <a:pt x="1184" y="220"/>
                    </a:cubicBezTo>
                    <a:cubicBezTo>
                      <a:pt x="1193" y="230"/>
                      <a:pt x="1193" y="230"/>
                      <a:pt x="1193" y="230"/>
                    </a:cubicBezTo>
                    <a:cubicBezTo>
                      <a:pt x="1151" y="351"/>
                      <a:pt x="1151" y="351"/>
                      <a:pt x="1151" y="351"/>
                    </a:cubicBezTo>
                    <a:cubicBezTo>
                      <a:pt x="1172" y="379"/>
                      <a:pt x="1190" y="408"/>
                      <a:pt x="1206" y="440"/>
                    </a:cubicBezTo>
                    <a:cubicBezTo>
                      <a:pt x="1327" y="462"/>
                      <a:pt x="1327" y="462"/>
                      <a:pt x="1327" y="462"/>
                    </a:cubicBezTo>
                    <a:cubicBezTo>
                      <a:pt x="1331" y="475"/>
                      <a:pt x="1331" y="475"/>
                      <a:pt x="1331" y="475"/>
                    </a:cubicBezTo>
                    <a:cubicBezTo>
                      <a:pt x="1342" y="514"/>
                      <a:pt x="1351" y="560"/>
                      <a:pt x="1351" y="562"/>
                    </a:cubicBezTo>
                    <a:cubicBezTo>
                      <a:pt x="1351" y="564"/>
                      <a:pt x="1359" y="611"/>
                      <a:pt x="1362" y="651"/>
                    </a:cubicBezTo>
                    <a:cubicBezTo>
                      <a:pt x="1362" y="664"/>
                      <a:pt x="1362" y="664"/>
                      <a:pt x="1362" y="664"/>
                    </a:cubicBezTo>
                    <a:cubicBezTo>
                      <a:pt x="1262" y="724"/>
                      <a:pt x="1262" y="724"/>
                      <a:pt x="1262" y="724"/>
                    </a:cubicBezTo>
                    <a:cubicBezTo>
                      <a:pt x="1259" y="762"/>
                      <a:pt x="1252" y="800"/>
                      <a:pt x="1241" y="837"/>
                    </a:cubicBezTo>
                    <a:cubicBezTo>
                      <a:pt x="1316" y="928"/>
                      <a:pt x="1316" y="928"/>
                      <a:pt x="1316" y="928"/>
                    </a:cubicBezTo>
                    <a:cubicBezTo>
                      <a:pt x="1310" y="940"/>
                      <a:pt x="1310" y="940"/>
                      <a:pt x="1310" y="940"/>
                    </a:cubicBezTo>
                    <a:cubicBezTo>
                      <a:pt x="1294" y="978"/>
                      <a:pt x="1271" y="1019"/>
                      <a:pt x="1270" y="1020"/>
                    </a:cubicBezTo>
                    <a:cubicBezTo>
                      <a:pt x="1269" y="1022"/>
                      <a:pt x="1245" y="1063"/>
                      <a:pt x="1221" y="1095"/>
                    </a:cubicBezTo>
                    <a:cubicBezTo>
                      <a:pt x="1213" y="1106"/>
                      <a:pt x="1213" y="1106"/>
                      <a:pt x="1213" y="1106"/>
                    </a:cubicBezTo>
                    <a:cubicBezTo>
                      <a:pt x="1087" y="1085"/>
                      <a:pt x="1087" y="1085"/>
                      <a:pt x="1087" y="1085"/>
                    </a:cubicBezTo>
                    <a:cubicBezTo>
                      <a:pt x="1063" y="1108"/>
                      <a:pt x="1037" y="1128"/>
                      <a:pt x="1009" y="1147"/>
                    </a:cubicBezTo>
                    <a:cubicBezTo>
                      <a:pt x="1008" y="1278"/>
                      <a:pt x="1008" y="1278"/>
                      <a:pt x="1008" y="1278"/>
                    </a:cubicBezTo>
                    <a:cubicBezTo>
                      <a:pt x="996" y="1284"/>
                      <a:pt x="996" y="1284"/>
                      <a:pt x="996" y="1284"/>
                    </a:cubicBezTo>
                    <a:cubicBezTo>
                      <a:pt x="959" y="1302"/>
                      <a:pt x="915" y="1319"/>
                      <a:pt x="913" y="1319"/>
                    </a:cubicBezTo>
                    <a:cubicBezTo>
                      <a:pt x="911" y="1320"/>
                      <a:pt x="867" y="1336"/>
                      <a:pt x="828" y="1345"/>
                    </a:cubicBezTo>
                    <a:lnTo>
                      <a:pt x="815" y="1348"/>
                    </a:lnTo>
                    <a:close/>
                    <a:moveTo>
                      <a:pt x="742" y="1197"/>
                    </a:moveTo>
                    <a:cubicBezTo>
                      <a:pt x="830" y="1299"/>
                      <a:pt x="830" y="1299"/>
                      <a:pt x="830" y="1299"/>
                    </a:cubicBezTo>
                    <a:cubicBezTo>
                      <a:pt x="864" y="1290"/>
                      <a:pt x="898" y="1278"/>
                      <a:pt x="898" y="1278"/>
                    </a:cubicBezTo>
                    <a:cubicBezTo>
                      <a:pt x="899" y="1278"/>
                      <a:pt x="933" y="1265"/>
                      <a:pt x="964" y="1251"/>
                    </a:cubicBezTo>
                    <a:cubicBezTo>
                      <a:pt x="965" y="1122"/>
                      <a:pt x="965" y="1122"/>
                      <a:pt x="965" y="1122"/>
                    </a:cubicBezTo>
                    <a:cubicBezTo>
                      <a:pt x="976" y="1116"/>
                      <a:pt x="976" y="1116"/>
                      <a:pt x="976" y="1116"/>
                    </a:cubicBezTo>
                    <a:cubicBezTo>
                      <a:pt x="1008" y="1096"/>
                      <a:pt x="1037" y="1072"/>
                      <a:pt x="1064" y="1046"/>
                    </a:cubicBezTo>
                    <a:cubicBezTo>
                      <a:pt x="1072" y="1038"/>
                      <a:pt x="1072" y="1038"/>
                      <a:pt x="1072" y="1038"/>
                    </a:cubicBezTo>
                    <a:cubicBezTo>
                      <a:pt x="1193" y="1058"/>
                      <a:pt x="1193" y="1058"/>
                      <a:pt x="1193" y="1058"/>
                    </a:cubicBezTo>
                    <a:cubicBezTo>
                      <a:pt x="1213" y="1030"/>
                      <a:pt x="1232" y="999"/>
                      <a:pt x="1232" y="998"/>
                    </a:cubicBezTo>
                    <a:cubicBezTo>
                      <a:pt x="1232" y="998"/>
                      <a:pt x="1250" y="967"/>
                      <a:pt x="1264" y="935"/>
                    </a:cubicBezTo>
                    <a:cubicBezTo>
                      <a:pt x="1192" y="847"/>
                      <a:pt x="1192" y="847"/>
                      <a:pt x="1192" y="847"/>
                    </a:cubicBezTo>
                    <a:cubicBezTo>
                      <a:pt x="1196" y="835"/>
                      <a:pt x="1196" y="835"/>
                      <a:pt x="1196" y="835"/>
                    </a:cubicBezTo>
                    <a:cubicBezTo>
                      <a:pt x="1209" y="795"/>
                      <a:pt x="1217" y="753"/>
                      <a:pt x="1219" y="710"/>
                    </a:cubicBezTo>
                    <a:cubicBezTo>
                      <a:pt x="1219" y="698"/>
                      <a:pt x="1219" y="698"/>
                      <a:pt x="1219" y="698"/>
                    </a:cubicBezTo>
                    <a:cubicBezTo>
                      <a:pt x="1317" y="640"/>
                      <a:pt x="1317" y="640"/>
                      <a:pt x="1317" y="640"/>
                    </a:cubicBezTo>
                    <a:cubicBezTo>
                      <a:pt x="1314" y="606"/>
                      <a:pt x="1308" y="570"/>
                      <a:pt x="1308" y="570"/>
                    </a:cubicBezTo>
                    <a:cubicBezTo>
                      <a:pt x="1307" y="569"/>
                      <a:pt x="1301" y="534"/>
                      <a:pt x="1292" y="501"/>
                    </a:cubicBezTo>
                    <a:cubicBezTo>
                      <a:pt x="1176" y="479"/>
                      <a:pt x="1176" y="479"/>
                      <a:pt x="1176" y="479"/>
                    </a:cubicBezTo>
                    <a:cubicBezTo>
                      <a:pt x="1171" y="469"/>
                      <a:pt x="1171" y="469"/>
                      <a:pt x="1171" y="469"/>
                    </a:cubicBezTo>
                    <a:cubicBezTo>
                      <a:pt x="1154" y="433"/>
                      <a:pt x="1133" y="400"/>
                      <a:pt x="1109" y="369"/>
                    </a:cubicBezTo>
                    <a:cubicBezTo>
                      <a:pt x="1101" y="359"/>
                      <a:pt x="1101" y="359"/>
                      <a:pt x="1101" y="359"/>
                    </a:cubicBezTo>
                    <a:cubicBezTo>
                      <a:pt x="1142" y="241"/>
                      <a:pt x="1142" y="241"/>
                      <a:pt x="1142" y="241"/>
                    </a:cubicBezTo>
                    <a:cubicBezTo>
                      <a:pt x="1118" y="216"/>
                      <a:pt x="1090" y="193"/>
                      <a:pt x="1090" y="193"/>
                    </a:cubicBezTo>
                    <a:cubicBezTo>
                      <a:pt x="1090" y="193"/>
                      <a:pt x="1062" y="169"/>
                      <a:pt x="1034" y="150"/>
                    </a:cubicBezTo>
                    <a:cubicBezTo>
                      <a:pt x="915" y="217"/>
                      <a:pt x="915" y="217"/>
                      <a:pt x="915" y="217"/>
                    </a:cubicBezTo>
                    <a:cubicBezTo>
                      <a:pt x="905" y="212"/>
                      <a:pt x="905" y="212"/>
                      <a:pt x="905" y="212"/>
                    </a:cubicBezTo>
                    <a:cubicBezTo>
                      <a:pt x="875" y="199"/>
                      <a:pt x="845" y="189"/>
                      <a:pt x="813" y="182"/>
                    </a:cubicBezTo>
                    <a:cubicBezTo>
                      <a:pt x="802" y="179"/>
                      <a:pt x="802" y="179"/>
                      <a:pt x="802" y="179"/>
                    </a:cubicBezTo>
                    <a:cubicBezTo>
                      <a:pt x="752" y="47"/>
                      <a:pt x="752" y="47"/>
                      <a:pt x="752" y="47"/>
                    </a:cubicBezTo>
                    <a:cubicBezTo>
                      <a:pt x="718" y="44"/>
                      <a:pt x="682" y="44"/>
                      <a:pt x="681" y="44"/>
                    </a:cubicBezTo>
                    <a:cubicBezTo>
                      <a:pt x="681" y="44"/>
                      <a:pt x="645" y="44"/>
                      <a:pt x="610" y="47"/>
                    </a:cubicBezTo>
                    <a:cubicBezTo>
                      <a:pt x="561" y="179"/>
                      <a:pt x="561" y="179"/>
                      <a:pt x="561" y="179"/>
                    </a:cubicBezTo>
                    <a:cubicBezTo>
                      <a:pt x="549" y="182"/>
                      <a:pt x="549" y="182"/>
                      <a:pt x="549" y="182"/>
                    </a:cubicBezTo>
                    <a:cubicBezTo>
                      <a:pt x="518" y="189"/>
                      <a:pt x="488" y="199"/>
                      <a:pt x="458" y="212"/>
                    </a:cubicBezTo>
                    <a:cubicBezTo>
                      <a:pt x="448" y="217"/>
                      <a:pt x="448" y="217"/>
                      <a:pt x="448" y="217"/>
                    </a:cubicBezTo>
                    <a:cubicBezTo>
                      <a:pt x="329" y="149"/>
                      <a:pt x="329" y="149"/>
                      <a:pt x="329" y="149"/>
                    </a:cubicBezTo>
                    <a:cubicBezTo>
                      <a:pt x="300" y="169"/>
                      <a:pt x="273" y="192"/>
                      <a:pt x="272" y="192"/>
                    </a:cubicBezTo>
                    <a:cubicBezTo>
                      <a:pt x="272" y="193"/>
                      <a:pt x="244" y="216"/>
                      <a:pt x="220" y="241"/>
                    </a:cubicBezTo>
                    <a:cubicBezTo>
                      <a:pt x="262" y="359"/>
                      <a:pt x="262" y="359"/>
                      <a:pt x="262" y="359"/>
                    </a:cubicBezTo>
                    <a:cubicBezTo>
                      <a:pt x="254" y="369"/>
                      <a:pt x="254" y="369"/>
                      <a:pt x="254" y="369"/>
                    </a:cubicBezTo>
                    <a:cubicBezTo>
                      <a:pt x="229" y="399"/>
                      <a:pt x="209" y="433"/>
                      <a:pt x="192" y="468"/>
                    </a:cubicBezTo>
                    <a:cubicBezTo>
                      <a:pt x="187" y="478"/>
                      <a:pt x="187" y="478"/>
                      <a:pt x="187" y="478"/>
                    </a:cubicBezTo>
                    <a:cubicBezTo>
                      <a:pt x="70" y="500"/>
                      <a:pt x="70" y="500"/>
                      <a:pt x="70" y="500"/>
                    </a:cubicBezTo>
                    <a:cubicBezTo>
                      <a:pt x="61" y="533"/>
                      <a:pt x="55" y="569"/>
                      <a:pt x="55" y="569"/>
                    </a:cubicBezTo>
                    <a:cubicBezTo>
                      <a:pt x="55" y="570"/>
                      <a:pt x="48" y="605"/>
                      <a:pt x="45" y="640"/>
                    </a:cubicBezTo>
                    <a:cubicBezTo>
                      <a:pt x="143" y="698"/>
                      <a:pt x="143" y="698"/>
                      <a:pt x="143" y="698"/>
                    </a:cubicBezTo>
                    <a:cubicBezTo>
                      <a:pt x="144" y="709"/>
                      <a:pt x="144" y="709"/>
                      <a:pt x="144" y="709"/>
                    </a:cubicBezTo>
                    <a:cubicBezTo>
                      <a:pt x="146" y="752"/>
                      <a:pt x="154" y="794"/>
                      <a:pt x="167" y="834"/>
                    </a:cubicBezTo>
                    <a:cubicBezTo>
                      <a:pt x="170" y="846"/>
                      <a:pt x="170" y="846"/>
                      <a:pt x="170" y="846"/>
                    </a:cubicBezTo>
                    <a:cubicBezTo>
                      <a:pt x="97" y="935"/>
                      <a:pt x="97" y="935"/>
                      <a:pt x="97" y="935"/>
                    </a:cubicBezTo>
                    <a:cubicBezTo>
                      <a:pt x="112" y="966"/>
                      <a:pt x="130" y="997"/>
                      <a:pt x="130" y="998"/>
                    </a:cubicBezTo>
                    <a:cubicBezTo>
                      <a:pt x="130" y="998"/>
                      <a:pt x="148" y="1029"/>
                      <a:pt x="168" y="1058"/>
                    </a:cubicBezTo>
                    <a:cubicBezTo>
                      <a:pt x="290" y="1038"/>
                      <a:pt x="290" y="1038"/>
                      <a:pt x="290" y="1038"/>
                    </a:cubicBezTo>
                    <a:cubicBezTo>
                      <a:pt x="298" y="1045"/>
                      <a:pt x="298" y="1045"/>
                      <a:pt x="298" y="1045"/>
                    </a:cubicBezTo>
                    <a:cubicBezTo>
                      <a:pt x="324" y="1072"/>
                      <a:pt x="354" y="1095"/>
                      <a:pt x="386" y="1115"/>
                    </a:cubicBezTo>
                    <a:cubicBezTo>
                      <a:pt x="396" y="1121"/>
                      <a:pt x="396" y="1121"/>
                      <a:pt x="396" y="1121"/>
                    </a:cubicBezTo>
                    <a:cubicBezTo>
                      <a:pt x="397" y="1250"/>
                      <a:pt x="397" y="1250"/>
                      <a:pt x="397" y="1250"/>
                    </a:cubicBezTo>
                    <a:cubicBezTo>
                      <a:pt x="429" y="1265"/>
                      <a:pt x="463" y="1278"/>
                      <a:pt x="463" y="1278"/>
                    </a:cubicBezTo>
                    <a:cubicBezTo>
                      <a:pt x="463" y="1278"/>
                      <a:pt x="498" y="1290"/>
                      <a:pt x="531" y="1299"/>
                    </a:cubicBezTo>
                    <a:cubicBezTo>
                      <a:pt x="619" y="1197"/>
                      <a:pt x="619" y="1197"/>
                      <a:pt x="619" y="1197"/>
                    </a:cubicBezTo>
                    <a:cubicBezTo>
                      <a:pt x="630" y="1198"/>
                      <a:pt x="630" y="1198"/>
                      <a:pt x="630" y="1198"/>
                    </a:cubicBezTo>
                    <a:cubicBezTo>
                      <a:pt x="647" y="1199"/>
                      <a:pt x="665" y="1200"/>
                      <a:pt x="681" y="1200"/>
                    </a:cubicBezTo>
                    <a:cubicBezTo>
                      <a:pt x="698" y="1200"/>
                      <a:pt x="714" y="1199"/>
                      <a:pt x="731" y="1198"/>
                    </a:cubicBezTo>
                    <a:lnTo>
                      <a:pt x="742" y="1197"/>
                    </a:lnTo>
                    <a:close/>
                    <a:moveTo>
                      <a:pt x="681" y="1108"/>
                    </a:moveTo>
                    <a:cubicBezTo>
                      <a:pt x="447" y="1108"/>
                      <a:pt x="256" y="917"/>
                      <a:pt x="256" y="683"/>
                    </a:cubicBezTo>
                    <a:cubicBezTo>
                      <a:pt x="256" y="448"/>
                      <a:pt x="447" y="257"/>
                      <a:pt x="681" y="257"/>
                    </a:cubicBezTo>
                    <a:cubicBezTo>
                      <a:pt x="916" y="257"/>
                      <a:pt x="1107" y="448"/>
                      <a:pt x="1107" y="683"/>
                    </a:cubicBezTo>
                    <a:cubicBezTo>
                      <a:pt x="1107" y="917"/>
                      <a:pt x="916" y="1108"/>
                      <a:pt x="681" y="1108"/>
                    </a:cubicBezTo>
                    <a:close/>
                    <a:moveTo>
                      <a:pt x="681" y="301"/>
                    </a:moveTo>
                    <a:cubicBezTo>
                      <a:pt x="471" y="301"/>
                      <a:pt x="300" y="473"/>
                      <a:pt x="300" y="683"/>
                    </a:cubicBezTo>
                    <a:cubicBezTo>
                      <a:pt x="300" y="893"/>
                      <a:pt x="471" y="1064"/>
                      <a:pt x="681" y="1064"/>
                    </a:cubicBezTo>
                    <a:cubicBezTo>
                      <a:pt x="892" y="1064"/>
                      <a:pt x="1063" y="893"/>
                      <a:pt x="1063" y="683"/>
                    </a:cubicBezTo>
                    <a:cubicBezTo>
                      <a:pt x="1063" y="473"/>
                      <a:pt x="892" y="301"/>
                      <a:pt x="681" y="301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69664" name="bcgIcons_AbstractionInHiddenLayers"/>
          <p:cNvGrpSpPr>
            <a:grpSpLocks noChangeAspect="1"/>
          </p:cNvGrpSpPr>
          <p:nvPr/>
        </p:nvGrpSpPr>
        <p:grpSpPr bwMode="auto">
          <a:xfrm>
            <a:off x="5191125" y="4208463"/>
            <a:ext cx="687388" cy="688975"/>
            <a:chOff x="1682" y="0"/>
            <a:chExt cx="4316" cy="4320"/>
          </a:xfrm>
        </p:grpSpPr>
        <p:sp>
          <p:nvSpPr>
            <p:cNvPr id="69670" name="AutoShape 30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69671" name="Freeform 32"/>
            <p:cNvSpPr>
              <a:spLocks noEditPoints="1"/>
            </p:cNvSpPr>
            <p:nvPr/>
          </p:nvSpPr>
          <p:spPr bwMode="auto">
            <a:xfrm>
              <a:off x="2111" y="1136"/>
              <a:ext cx="2145" cy="2044"/>
            </a:xfrm>
            <a:custGeom>
              <a:avLst/>
              <a:gdLst>
                <a:gd name="T0" fmla="*/ 1047 w 1145"/>
                <a:gd name="T1" fmla="*/ 1973 h 1090"/>
                <a:gd name="T2" fmla="*/ 1047 w 1145"/>
                <a:gd name="T3" fmla="*/ 2033 h 1090"/>
                <a:gd name="T4" fmla="*/ 1019 w 1145"/>
                <a:gd name="T5" fmla="*/ 2044 h 1090"/>
                <a:gd name="T6" fmla="*/ 989 w 1145"/>
                <a:gd name="T7" fmla="*/ 2033 h 1090"/>
                <a:gd name="T8" fmla="*/ 11 w 1145"/>
                <a:gd name="T9" fmla="*/ 1054 h 1090"/>
                <a:gd name="T10" fmla="*/ 0 w 1145"/>
                <a:gd name="T11" fmla="*/ 1024 h 1090"/>
                <a:gd name="T12" fmla="*/ 11 w 1145"/>
                <a:gd name="T13" fmla="*/ 994 h 1090"/>
                <a:gd name="T14" fmla="*/ 989 w 1145"/>
                <a:gd name="T15" fmla="*/ 15 h 1090"/>
                <a:gd name="T16" fmla="*/ 1047 w 1145"/>
                <a:gd name="T17" fmla="*/ 15 h 1090"/>
                <a:gd name="T18" fmla="*/ 1197 w 1145"/>
                <a:gd name="T19" fmla="*/ 165 h 1090"/>
                <a:gd name="T20" fmla="*/ 1139 w 1145"/>
                <a:gd name="T21" fmla="*/ 223 h 1090"/>
                <a:gd name="T22" fmla="*/ 1019 w 1145"/>
                <a:gd name="T23" fmla="*/ 103 h 1090"/>
                <a:gd name="T24" fmla="*/ 99 w 1145"/>
                <a:gd name="T25" fmla="*/ 1024 h 1090"/>
                <a:gd name="T26" fmla="*/ 1047 w 1145"/>
                <a:gd name="T27" fmla="*/ 1973 h 1090"/>
                <a:gd name="T28" fmla="*/ 573 w 1145"/>
                <a:gd name="T29" fmla="*/ 1024 h 1090"/>
                <a:gd name="T30" fmla="*/ 1493 w 1145"/>
                <a:gd name="T31" fmla="*/ 103 h 1090"/>
                <a:gd name="T32" fmla="*/ 1613 w 1145"/>
                <a:gd name="T33" fmla="*/ 223 h 1090"/>
                <a:gd name="T34" fmla="*/ 1671 w 1145"/>
                <a:gd name="T35" fmla="*/ 165 h 1090"/>
                <a:gd name="T36" fmla="*/ 1521 w 1145"/>
                <a:gd name="T37" fmla="*/ 15 h 1090"/>
                <a:gd name="T38" fmla="*/ 1463 w 1145"/>
                <a:gd name="T39" fmla="*/ 15 h 1090"/>
                <a:gd name="T40" fmla="*/ 485 w 1145"/>
                <a:gd name="T41" fmla="*/ 994 h 1090"/>
                <a:gd name="T42" fmla="*/ 485 w 1145"/>
                <a:gd name="T43" fmla="*/ 1054 h 1090"/>
                <a:gd name="T44" fmla="*/ 1463 w 1145"/>
                <a:gd name="T45" fmla="*/ 2033 h 1090"/>
                <a:gd name="T46" fmla="*/ 1493 w 1145"/>
                <a:gd name="T47" fmla="*/ 2044 h 1090"/>
                <a:gd name="T48" fmla="*/ 1521 w 1145"/>
                <a:gd name="T49" fmla="*/ 2033 h 1090"/>
                <a:gd name="T50" fmla="*/ 1521 w 1145"/>
                <a:gd name="T51" fmla="*/ 1973 h 1090"/>
                <a:gd name="T52" fmla="*/ 573 w 1145"/>
                <a:gd name="T53" fmla="*/ 1024 h 1090"/>
                <a:gd name="T54" fmla="*/ 1047 w 1145"/>
                <a:gd name="T55" fmla="*/ 1024 h 1090"/>
                <a:gd name="T56" fmla="*/ 1965 w 1145"/>
                <a:gd name="T57" fmla="*/ 103 h 1090"/>
                <a:gd name="T58" fmla="*/ 2087 w 1145"/>
                <a:gd name="T59" fmla="*/ 223 h 1090"/>
                <a:gd name="T60" fmla="*/ 2145 w 1145"/>
                <a:gd name="T61" fmla="*/ 165 h 1090"/>
                <a:gd name="T62" fmla="*/ 1995 w 1145"/>
                <a:gd name="T63" fmla="*/ 15 h 1090"/>
                <a:gd name="T64" fmla="*/ 1937 w 1145"/>
                <a:gd name="T65" fmla="*/ 15 h 1090"/>
                <a:gd name="T66" fmla="*/ 959 w 1145"/>
                <a:gd name="T67" fmla="*/ 994 h 1090"/>
                <a:gd name="T68" fmla="*/ 946 w 1145"/>
                <a:gd name="T69" fmla="*/ 1024 h 1090"/>
                <a:gd name="T70" fmla="*/ 959 w 1145"/>
                <a:gd name="T71" fmla="*/ 1054 h 1090"/>
                <a:gd name="T72" fmla="*/ 1937 w 1145"/>
                <a:gd name="T73" fmla="*/ 2033 h 1090"/>
                <a:gd name="T74" fmla="*/ 1965 w 1145"/>
                <a:gd name="T75" fmla="*/ 2044 h 1090"/>
                <a:gd name="T76" fmla="*/ 1995 w 1145"/>
                <a:gd name="T77" fmla="*/ 2033 h 1090"/>
                <a:gd name="T78" fmla="*/ 1995 w 1145"/>
                <a:gd name="T79" fmla="*/ 1973 h 1090"/>
                <a:gd name="T80" fmla="*/ 1047 w 1145"/>
                <a:gd name="T81" fmla="*/ 1024 h 109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45"/>
                <a:gd name="T124" fmla="*/ 0 h 1090"/>
                <a:gd name="T125" fmla="*/ 1145 w 1145"/>
                <a:gd name="T126" fmla="*/ 1090 h 109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45" h="1090">
                  <a:moveTo>
                    <a:pt x="559" y="1052"/>
                  </a:moveTo>
                  <a:cubicBezTo>
                    <a:pt x="568" y="1061"/>
                    <a:pt x="568" y="1075"/>
                    <a:pt x="559" y="1084"/>
                  </a:cubicBezTo>
                  <a:cubicBezTo>
                    <a:pt x="555" y="1088"/>
                    <a:pt x="549" y="1090"/>
                    <a:pt x="544" y="1090"/>
                  </a:cubicBezTo>
                  <a:cubicBezTo>
                    <a:pt x="538" y="1090"/>
                    <a:pt x="532" y="1088"/>
                    <a:pt x="528" y="1084"/>
                  </a:cubicBezTo>
                  <a:cubicBezTo>
                    <a:pt x="6" y="562"/>
                    <a:pt x="6" y="562"/>
                    <a:pt x="6" y="562"/>
                  </a:cubicBezTo>
                  <a:cubicBezTo>
                    <a:pt x="2" y="557"/>
                    <a:pt x="0" y="552"/>
                    <a:pt x="0" y="546"/>
                  </a:cubicBezTo>
                  <a:cubicBezTo>
                    <a:pt x="0" y="540"/>
                    <a:pt x="2" y="535"/>
                    <a:pt x="6" y="530"/>
                  </a:cubicBezTo>
                  <a:cubicBezTo>
                    <a:pt x="528" y="8"/>
                    <a:pt x="528" y="8"/>
                    <a:pt x="528" y="8"/>
                  </a:cubicBezTo>
                  <a:cubicBezTo>
                    <a:pt x="537" y="0"/>
                    <a:pt x="551" y="0"/>
                    <a:pt x="559" y="8"/>
                  </a:cubicBezTo>
                  <a:cubicBezTo>
                    <a:pt x="639" y="88"/>
                    <a:pt x="639" y="88"/>
                    <a:pt x="639" y="88"/>
                  </a:cubicBezTo>
                  <a:cubicBezTo>
                    <a:pt x="608" y="119"/>
                    <a:pt x="608" y="119"/>
                    <a:pt x="608" y="119"/>
                  </a:cubicBezTo>
                  <a:cubicBezTo>
                    <a:pt x="544" y="55"/>
                    <a:pt x="544" y="55"/>
                    <a:pt x="544" y="55"/>
                  </a:cubicBezTo>
                  <a:cubicBezTo>
                    <a:pt x="53" y="546"/>
                    <a:pt x="53" y="546"/>
                    <a:pt x="53" y="546"/>
                  </a:cubicBezTo>
                  <a:lnTo>
                    <a:pt x="559" y="1052"/>
                  </a:lnTo>
                  <a:close/>
                  <a:moveTo>
                    <a:pt x="306" y="546"/>
                  </a:moveTo>
                  <a:cubicBezTo>
                    <a:pt x="797" y="55"/>
                    <a:pt x="797" y="55"/>
                    <a:pt x="797" y="55"/>
                  </a:cubicBezTo>
                  <a:cubicBezTo>
                    <a:pt x="861" y="119"/>
                    <a:pt x="861" y="119"/>
                    <a:pt x="861" y="119"/>
                  </a:cubicBezTo>
                  <a:cubicBezTo>
                    <a:pt x="892" y="88"/>
                    <a:pt x="892" y="88"/>
                    <a:pt x="892" y="88"/>
                  </a:cubicBezTo>
                  <a:cubicBezTo>
                    <a:pt x="812" y="8"/>
                    <a:pt x="812" y="8"/>
                    <a:pt x="812" y="8"/>
                  </a:cubicBezTo>
                  <a:cubicBezTo>
                    <a:pt x="804" y="0"/>
                    <a:pt x="790" y="0"/>
                    <a:pt x="781" y="8"/>
                  </a:cubicBezTo>
                  <a:cubicBezTo>
                    <a:pt x="259" y="530"/>
                    <a:pt x="259" y="530"/>
                    <a:pt x="259" y="530"/>
                  </a:cubicBezTo>
                  <a:cubicBezTo>
                    <a:pt x="250" y="539"/>
                    <a:pt x="250" y="553"/>
                    <a:pt x="259" y="562"/>
                  </a:cubicBezTo>
                  <a:cubicBezTo>
                    <a:pt x="781" y="1084"/>
                    <a:pt x="781" y="1084"/>
                    <a:pt x="781" y="1084"/>
                  </a:cubicBezTo>
                  <a:cubicBezTo>
                    <a:pt x="785" y="1088"/>
                    <a:pt x="791" y="1090"/>
                    <a:pt x="797" y="1090"/>
                  </a:cubicBezTo>
                  <a:cubicBezTo>
                    <a:pt x="802" y="1090"/>
                    <a:pt x="808" y="1088"/>
                    <a:pt x="812" y="1084"/>
                  </a:cubicBezTo>
                  <a:cubicBezTo>
                    <a:pt x="821" y="1075"/>
                    <a:pt x="821" y="1061"/>
                    <a:pt x="812" y="1052"/>
                  </a:cubicBezTo>
                  <a:lnTo>
                    <a:pt x="306" y="546"/>
                  </a:lnTo>
                  <a:close/>
                  <a:moveTo>
                    <a:pt x="559" y="546"/>
                  </a:moveTo>
                  <a:cubicBezTo>
                    <a:pt x="1049" y="55"/>
                    <a:pt x="1049" y="55"/>
                    <a:pt x="1049" y="55"/>
                  </a:cubicBezTo>
                  <a:cubicBezTo>
                    <a:pt x="1114" y="119"/>
                    <a:pt x="1114" y="119"/>
                    <a:pt x="1114" y="119"/>
                  </a:cubicBezTo>
                  <a:cubicBezTo>
                    <a:pt x="1145" y="88"/>
                    <a:pt x="1145" y="88"/>
                    <a:pt x="1145" y="88"/>
                  </a:cubicBezTo>
                  <a:cubicBezTo>
                    <a:pt x="1065" y="8"/>
                    <a:pt x="1065" y="8"/>
                    <a:pt x="1065" y="8"/>
                  </a:cubicBezTo>
                  <a:cubicBezTo>
                    <a:pt x="1056" y="0"/>
                    <a:pt x="1042" y="0"/>
                    <a:pt x="1034" y="8"/>
                  </a:cubicBezTo>
                  <a:cubicBezTo>
                    <a:pt x="512" y="530"/>
                    <a:pt x="512" y="530"/>
                    <a:pt x="512" y="530"/>
                  </a:cubicBezTo>
                  <a:cubicBezTo>
                    <a:pt x="508" y="535"/>
                    <a:pt x="505" y="540"/>
                    <a:pt x="505" y="546"/>
                  </a:cubicBezTo>
                  <a:cubicBezTo>
                    <a:pt x="505" y="552"/>
                    <a:pt x="508" y="557"/>
                    <a:pt x="512" y="562"/>
                  </a:cubicBezTo>
                  <a:cubicBezTo>
                    <a:pt x="1034" y="1084"/>
                    <a:pt x="1034" y="1084"/>
                    <a:pt x="1034" y="1084"/>
                  </a:cubicBezTo>
                  <a:cubicBezTo>
                    <a:pt x="1038" y="1088"/>
                    <a:pt x="1044" y="1090"/>
                    <a:pt x="1049" y="1090"/>
                  </a:cubicBezTo>
                  <a:cubicBezTo>
                    <a:pt x="1055" y="1090"/>
                    <a:pt x="1061" y="1088"/>
                    <a:pt x="1065" y="1084"/>
                  </a:cubicBezTo>
                  <a:cubicBezTo>
                    <a:pt x="1074" y="1075"/>
                    <a:pt x="1074" y="1061"/>
                    <a:pt x="1065" y="1052"/>
                  </a:cubicBezTo>
                  <a:lnTo>
                    <a:pt x="559" y="546"/>
                  </a:lnTo>
                  <a:close/>
                </a:path>
              </a:pathLst>
            </a:custGeom>
            <a:solidFill>
              <a:srgbClr val="59595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69672" name="Freeform 33"/>
            <p:cNvSpPr>
              <a:spLocks/>
            </p:cNvSpPr>
            <p:nvPr/>
          </p:nvSpPr>
          <p:spPr bwMode="auto">
            <a:xfrm>
              <a:off x="3531" y="1136"/>
              <a:ext cx="2038" cy="2044"/>
            </a:xfrm>
            <a:custGeom>
              <a:avLst/>
              <a:gdLst>
                <a:gd name="T0" fmla="*/ 2027 w 1088"/>
                <a:gd name="T1" fmla="*/ 994 h 1090"/>
                <a:gd name="T2" fmla="*/ 1049 w 1088"/>
                <a:gd name="T3" fmla="*/ 15 h 1090"/>
                <a:gd name="T4" fmla="*/ 991 w 1088"/>
                <a:gd name="T5" fmla="*/ 15 h 1090"/>
                <a:gd name="T6" fmla="*/ 13 w 1088"/>
                <a:gd name="T7" fmla="*/ 994 h 1090"/>
                <a:gd name="T8" fmla="*/ 0 w 1088"/>
                <a:gd name="T9" fmla="*/ 1024 h 1090"/>
                <a:gd name="T10" fmla="*/ 13 w 1088"/>
                <a:gd name="T11" fmla="*/ 1054 h 1090"/>
                <a:gd name="T12" fmla="*/ 991 w 1088"/>
                <a:gd name="T13" fmla="*/ 2033 h 1090"/>
                <a:gd name="T14" fmla="*/ 1019 w 1088"/>
                <a:gd name="T15" fmla="*/ 2044 h 1090"/>
                <a:gd name="T16" fmla="*/ 1049 w 1088"/>
                <a:gd name="T17" fmla="*/ 2033 h 1090"/>
                <a:gd name="T18" fmla="*/ 2027 w 1088"/>
                <a:gd name="T19" fmla="*/ 1054 h 1090"/>
                <a:gd name="T20" fmla="*/ 2038 w 1088"/>
                <a:gd name="T21" fmla="*/ 1024 h 1090"/>
                <a:gd name="T22" fmla="*/ 2027 w 1088"/>
                <a:gd name="T23" fmla="*/ 994 h 10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88"/>
                <a:gd name="T37" fmla="*/ 0 h 1090"/>
                <a:gd name="T38" fmla="*/ 1088 w 1088"/>
                <a:gd name="T39" fmla="*/ 1090 h 109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88" h="1090">
                  <a:moveTo>
                    <a:pt x="1082" y="530"/>
                  </a:moveTo>
                  <a:cubicBezTo>
                    <a:pt x="560" y="8"/>
                    <a:pt x="560" y="8"/>
                    <a:pt x="560" y="8"/>
                  </a:cubicBezTo>
                  <a:cubicBezTo>
                    <a:pt x="551" y="0"/>
                    <a:pt x="537" y="0"/>
                    <a:pt x="529" y="8"/>
                  </a:cubicBezTo>
                  <a:cubicBezTo>
                    <a:pt x="7" y="530"/>
                    <a:pt x="7" y="530"/>
                    <a:pt x="7" y="530"/>
                  </a:cubicBezTo>
                  <a:cubicBezTo>
                    <a:pt x="3" y="535"/>
                    <a:pt x="0" y="540"/>
                    <a:pt x="0" y="546"/>
                  </a:cubicBezTo>
                  <a:cubicBezTo>
                    <a:pt x="0" y="552"/>
                    <a:pt x="3" y="557"/>
                    <a:pt x="7" y="562"/>
                  </a:cubicBezTo>
                  <a:cubicBezTo>
                    <a:pt x="529" y="1084"/>
                    <a:pt x="529" y="1084"/>
                    <a:pt x="529" y="1084"/>
                  </a:cubicBezTo>
                  <a:cubicBezTo>
                    <a:pt x="533" y="1088"/>
                    <a:pt x="539" y="1090"/>
                    <a:pt x="544" y="1090"/>
                  </a:cubicBezTo>
                  <a:cubicBezTo>
                    <a:pt x="550" y="1090"/>
                    <a:pt x="556" y="1088"/>
                    <a:pt x="560" y="1084"/>
                  </a:cubicBezTo>
                  <a:cubicBezTo>
                    <a:pt x="1082" y="562"/>
                    <a:pt x="1082" y="562"/>
                    <a:pt x="1082" y="562"/>
                  </a:cubicBezTo>
                  <a:cubicBezTo>
                    <a:pt x="1086" y="557"/>
                    <a:pt x="1088" y="552"/>
                    <a:pt x="1088" y="546"/>
                  </a:cubicBezTo>
                  <a:cubicBezTo>
                    <a:pt x="1088" y="540"/>
                    <a:pt x="1086" y="535"/>
                    <a:pt x="1082" y="530"/>
                  </a:cubicBez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69665" name="bcgIcons_Global"/>
          <p:cNvGrpSpPr>
            <a:grpSpLocks noChangeAspect="1"/>
          </p:cNvGrpSpPr>
          <p:nvPr/>
        </p:nvGrpSpPr>
        <p:grpSpPr bwMode="auto">
          <a:xfrm>
            <a:off x="4814888" y="5327650"/>
            <a:ext cx="687387" cy="687388"/>
            <a:chOff x="1682" y="0"/>
            <a:chExt cx="4316" cy="4320"/>
          </a:xfrm>
        </p:grpSpPr>
        <p:sp>
          <p:nvSpPr>
            <p:cNvPr id="69667" name="AutoShape 28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69668" name="Freeform 30"/>
            <p:cNvSpPr>
              <a:spLocks noEditPoints="1"/>
            </p:cNvSpPr>
            <p:nvPr/>
          </p:nvSpPr>
          <p:spPr bwMode="auto">
            <a:xfrm>
              <a:off x="2128" y="444"/>
              <a:ext cx="3424" cy="3428"/>
            </a:xfrm>
            <a:custGeom>
              <a:avLst/>
              <a:gdLst>
                <a:gd name="T0" fmla="*/ 1712 w 1828"/>
                <a:gd name="T1" fmla="*/ 3428 h 1828"/>
                <a:gd name="T2" fmla="*/ 502 w 1828"/>
                <a:gd name="T3" fmla="*/ 2925 h 1828"/>
                <a:gd name="T4" fmla="*/ 0 w 1828"/>
                <a:gd name="T5" fmla="*/ 1714 h 1828"/>
                <a:gd name="T6" fmla="*/ 502 w 1828"/>
                <a:gd name="T7" fmla="*/ 503 h 1828"/>
                <a:gd name="T8" fmla="*/ 1712 w 1828"/>
                <a:gd name="T9" fmla="*/ 0 h 1828"/>
                <a:gd name="T10" fmla="*/ 2922 w 1828"/>
                <a:gd name="T11" fmla="*/ 503 h 1828"/>
                <a:gd name="T12" fmla="*/ 3424 w 1828"/>
                <a:gd name="T13" fmla="*/ 1714 h 1828"/>
                <a:gd name="T14" fmla="*/ 2922 w 1828"/>
                <a:gd name="T15" fmla="*/ 2925 h 1828"/>
                <a:gd name="T16" fmla="*/ 1712 w 1828"/>
                <a:gd name="T17" fmla="*/ 3428 h 1828"/>
                <a:gd name="T18" fmla="*/ 1712 w 1828"/>
                <a:gd name="T19" fmla="*/ 83 h 1828"/>
                <a:gd name="T20" fmla="*/ 82 w 1828"/>
                <a:gd name="T21" fmla="*/ 1714 h 1828"/>
                <a:gd name="T22" fmla="*/ 1712 w 1828"/>
                <a:gd name="T23" fmla="*/ 3345 h 1828"/>
                <a:gd name="T24" fmla="*/ 3342 w 1828"/>
                <a:gd name="T25" fmla="*/ 1714 h 1828"/>
                <a:gd name="T26" fmla="*/ 1712 w 1828"/>
                <a:gd name="T27" fmla="*/ 83 h 18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828"/>
                <a:gd name="T43" fmla="*/ 0 h 1828"/>
                <a:gd name="T44" fmla="*/ 1828 w 1828"/>
                <a:gd name="T45" fmla="*/ 1828 h 18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828" h="1828">
                  <a:moveTo>
                    <a:pt x="914" y="1828"/>
                  </a:moveTo>
                  <a:cubicBezTo>
                    <a:pt x="670" y="1828"/>
                    <a:pt x="440" y="1733"/>
                    <a:pt x="268" y="1560"/>
                  </a:cubicBezTo>
                  <a:cubicBezTo>
                    <a:pt x="95" y="1388"/>
                    <a:pt x="0" y="1158"/>
                    <a:pt x="0" y="914"/>
                  </a:cubicBezTo>
                  <a:cubicBezTo>
                    <a:pt x="0" y="670"/>
                    <a:pt x="95" y="440"/>
                    <a:pt x="268" y="268"/>
                  </a:cubicBezTo>
                  <a:cubicBezTo>
                    <a:pt x="440" y="95"/>
                    <a:pt x="670" y="0"/>
                    <a:pt x="914" y="0"/>
                  </a:cubicBezTo>
                  <a:cubicBezTo>
                    <a:pt x="1158" y="0"/>
                    <a:pt x="1388" y="95"/>
                    <a:pt x="1560" y="268"/>
                  </a:cubicBezTo>
                  <a:cubicBezTo>
                    <a:pt x="1733" y="440"/>
                    <a:pt x="1828" y="670"/>
                    <a:pt x="1828" y="914"/>
                  </a:cubicBezTo>
                  <a:cubicBezTo>
                    <a:pt x="1828" y="1158"/>
                    <a:pt x="1733" y="1388"/>
                    <a:pt x="1560" y="1560"/>
                  </a:cubicBezTo>
                  <a:cubicBezTo>
                    <a:pt x="1388" y="1733"/>
                    <a:pt x="1158" y="1828"/>
                    <a:pt x="914" y="1828"/>
                  </a:cubicBezTo>
                  <a:close/>
                  <a:moveTo>
                    <a:pt x="914" y="44"/>
                  </a:moveTo>
                  <a:cubicBezTo>
                    <a:pt x="434" y="44"/>
                    <a:pt x="44" y="434"/>
                    <a:pt x="44" y="914"/>
                  </a:cubicBezTo>
                  <a:cubicBezTo>
                    <a:pt x="44" y="1394"/>
                    <a:pt x="434" y="1784"/>
                    <a:pt x="914" y="1784"/>
                  </a:cubicBezTo>
                  <a:cubicBezTo>
                    <a:pt x="1394" y="1784"/>
                    <a:pt x="1784" y="1394"/>
                    <a:pt x="1784" y="914"/>
                  </a:cubicBezTo>
                  <a:cubicBezTo>
                    <a:pt x="1784" y="434"/>
                    <a:pt x="1394" y="44"/>
                    <a:pt x="914" y="44"/>
                  </a:cubicBezTo>
                  <a:close/>
                </a:path>
              </a:pathLst>
            </a:custGeom>
            <a:solidFill>
              <a:srgbClr val="59595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69669" name="Freeform 31"/>
            <p:cNvSpPr>
              <a:spLocks noEditPoints="1"/>
            </p:cNvSpPr>
            <p:nvPr/>
          </p:nvSpPr>
          <p:spPr bwMode="auto">
            <a:xfrm>
              <a:off x="2293" y="609"/>
              <a:ext cx="3094" cy="3098"/>
            </a:xfrm>
            <a:custGeom>
              <a:avLst/>
              <a:gdLst>
                <a:gd name="T0" fmla="*/ 2637 w 1652"/>
                <a:gd name="T1" fmla="*/ 452 h 1652"/>
                <a:gd name="T2" fmla="*/ 2298 w 1652"/>
                <a:gd name="T3" fmla="*/ 521 h 1652"/>
                <a:gd name="T4" fmla="*/ 2227 w 1652"/>
                <a:gd name="T5" fmla="*/ 392 h 1652"/>
                <a:gd name="T6" fmla="*/ 1652 w 1652"/>
                <a:gd name="T7" fmla="*/ 698 h 1652"/>
                <a:gd name="T8" fmla="*/ 2217 w 1652"/>
                <a:gd name="T9" fmla="*/ 553 h 1652"/>
                <a:gd name="T10" fmla="*/ 1702 w 1652"/>
                <a:gd name="T11" fmla="*/ 8 h 1652"/>
                <a:gd name="T12" fmla="*/ 1588 w 1652"/>
                <a:gd name="T13" fmla="*/ 634 h 1652"/>
                <a:gd name="T14" fmla="*/ 1506 w 1652"/>
                <a:gd name="T15" fmla="*/ 848 h 1652"/>
                <a:gd name="T16" fmla="*/ 890 w 1652"/>
                <a:gd name="T17" fmla="*/ 703 h 1652"/>
                <a:gd name="T18" fmla="*/ 678 w 1652"/>
                <a:gd name="T19" fmla="*/ 1444 h 1652"/>
                <a:gd name="T20" fmla="*/ 1440 w 1652"/>
                <a:gd name="T21" fmla="*/ 1508 h 1652"/>
                <a:gd name="T22" fmla="*/ 1506 w 1652"/>
                <a:gd name="T23" fmla="*/ 848 h 1652"/>
                <a:gd name="T24" fmla="*/ 2204 w 1652"/>
                <a:gd name="T25" fmla="*/ 703 h 1652"/>
                <a:gd name="T26" fmla="*/ 1588 w 1652"/>
                <a:gd name="T27" fmla="*/ 848 h 1652"/>
                <a:gd name="T28" fmla="*/ 1654 w 1652"/>
                <a:gd name="T29" fmla="*/ 1508 h 1652"/>
                <a:gd name="T30" fmla="*/ 2416 w 1652"/>
                <a:gd name="T31" fmla="*/ 1444 h 1652"/>
                <a:gd name="T32" fmla="*/ 1440 w 1652"/>
                <a:gd name="T33" fmla="*/ 1590 h 1652"/>
                <a:gd name="T34" fmla="*/ 678 w 1652"/>
                <a:gd name="T35" fmla="*/ 1654 h 1652"/>
                <a:gd name="T36" fmla="*/ 890 w 1652"/>
                <a:gd name="T37" fmla="*/ 2395 h 1652"/>
                <a:gd name="T38" fmla="*/ 1506 w 1652"/>
                <a:gd name="T39" fmla="*/ 2250 h 1652"/>
                <a:gd name="T40" fmla="*/ 1440 w 1652"/>
                <a:gd name="T41" fmla="*/ 1590 h 1652"/>
                <a:gd name="T42" fmla="*/ 2217 w 1652"/>
                <a:gd name="T43" fmla="*/ 2545 h 1652"/>
                <a:gd name="T44" fmla="*/ 1652 w 1652"/>
                <a:gd name="T45" fmla="*/ 2400 h 1652"/>
                <a:gd name="T46" fmla="*/ 1588 w 1652"/>
                <a:gd name="T47" fmla="*/ 3098 h 1652"/>
                <a:gd name="T48" fmla="*/ 2156 w 1652"/>
                <a:gd name="T49" fmla="*/ 2665 h 1652"/>
                <a:gd name="T50" fmla="*/ 2352 w 1652"/>
                <a:gd name="T51" fmla="*/ 1590 h 1652"/>
                <a:gd name="T52" fmla="*/ 1588 w 1652"/>
                <a:gd name="T53" fmla="*/ 1656 h 1652"/>
                <a:gd name="T54" fmla="*/ 1654 w 1652"/>
                <a:gd name="T55" fmla="*/ 2318 h 1652"/>
                <a:gd name="T56" fmla="*/ 2294 w 1652"/>
                <a:gd name="T57" fmla="*/ 2348 h 1652"/>
                <a:gd name="T58" fmla="*/ 2373 w 1652"/>
                <a:gd name="T59" fmla="*/ 722 h 1652"/>
                <a:gd name="T60" fmla="*/ 2566 w 1652"/>
                <a:gd name="T61" fmla="*/ 1508 h 1652"/>
                <a:gd name="T62" fmla="*/ 2697 w 1652"/>
                <a:gd name="T63" fmla="*/ 514 h 1652"/>
                <a:gd name="T64" fmla="*/ 2373 w 1652"/>
                <a:gd name="T65" fmla="*/ 722 h 1652"/>
                <a:gd name="T66" fmla="*/ 2298 w 1652"/>
                <a:gd name="T67" fmla="*/ 2577 h 1652"/>
                <a:gd name="T68" fmla="*/ 2227 w 1652"/>
                <a:gd name="T69" fmla="*/ 2706 h 1652"/>
                <a:gd name="T70" fmla="*/ 2637 w 1652"/>
                <a:gd name="T71" fmla="*/ 2646 h 1652"/>
                <a:gd name="T72" fmla="*/ 867 w 1652"/>
                <a:gd name="T73" fmla="*/ 2706 h 1652"/>
                <a:gd name="T74" fmla="*/ 798 w 1652"/>
                <a:gd name="T75" fmla="*/ 2577 h 1652"/>
                <a:gd name="T76" fmla="*/ 457 w 1652"/>
                <a:gd name="T77" fmla="*/ 2646 h 1652"/>
                <a:gd name="T78" fmla="*/ 867 w 1652"/>
                <a:gd name="T79" fmla="*/ 2706 h 1652"/>
                <a:gd name="T80" fmla="*/ 910 w 1652"/>
                <a:gd name="T81" fmla="*/ 2474 h 1652"/>
                <a:gd name="T82" fmla="*/ 938 w 1652"/>
                <a:gd name="T83" fmla="*/ 2665 h 1652"/>
                <a:gd name="T84" fmla="*/ 1506 w 1652"/>
                <a:gd name="T85" fmla="*/ 3098 h 1652"/>
                <a:gd name="T86" fmla="*/ 1442 w 1652"/>
                <a:gd name="T87" fmla="*/ 2400 h 1652"/>
                <a:gd name="T88" fmla="*/ 2498 w 1652"/>
                <a:gd name="T89" fmla="*/ 1656 h 1652"/>
                <a:gd name="T90" fmla="*/ 2410 w 1652"/>
                <a:gd name="T91" fmla="*/ 2457 h 1652"/>
                <a:gd name="T92" fmla="*/ 3094 w 1652"/>
                <a:gd name="T93" fmla="*/ 1590 h 1652"/>
                <a:gd name="T94" fmla="*/ 1506 w 1652"/>
                <a:gd name="T95" fmla="*/ 0 h 1652"/>
                <a:gd name="T96" fmla="*/ 938 w 1652"/>
                <a:gd name="T97" fmla="*/ 433 h 1652"/>
                <a:gd name="T98" fmla="*/ 910 w 1652"/>
                <a:gd name="T99" fmla="*/ 624 h 1652"/>
                <a:gd name="T100" fmla="*/ 1506 w 1652"/>
                <a:gd name="T101" fmla="*/ 634 h 1652"/>
                <a:gd name="T102" fmla="*/ 708 w 1652"/>
                <a:gd name="T103" fmla="*/ 563 h 1652"/>
                <a:gd name="T104" fmla="*/ 800 w 1652"/>
                <a:gd name="T105" fmla="*/ 521 h 1652"/>
                <a:gd name="T106" fmla="*/ 1142 w 1652"/>
                <a:gd name="T107" fmla="*/ 54 h 1652"/>
                <a:gd name="T108" fmla="*/ 708 w 1652"/>
                <a:gd name="T109" fmla="*/ 563 h 1652"/>
                <a:gd name="T110" fmla="*/ 596 w 1652"/>
                <a:gd name="T111" fmla="*/ 1442 h 1652"/>
                <a:gd name="T112" fmla="*/ 684 w 1652"/>
                <a:gd name="T113" fmla="*/ 641 h 1652"/>
                <a:gd name="T114" fmla="*/ 0 w 1652"/>
                <a:gd name="T115" fmla="*/ 1508 h 1652"/>
                <a:gd name="T116" fmla="*/ 721 w 1652"/>
                <a:gd name="T117" fmla="*/ 2376 h 1652"/>
                <a:gd name="T118" fmla="*/ 528 w 1652"/>
                <a:gd name="T119" fmla="*/ 1590 h 1652"/>
                <a:gd name="T120" fmla="*/ 397 w 1652"/>
                <a:gd name="T121" fmla="*/ 2584 h 1652"/>
                <a:gd name="T122" fmla="*/ 721 w 1652"/>
                <a:gd name="T123" fmla="*/ 2376 h 165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652"/>
                <a:gd name="T187" fmla="*/ 0 h 1652"/>
                <a:gd name="T188" fmla="*/ 1652 w 1652"/>
                <a:gd name="T189" fmla="*/ 1652 h 165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652" h="1652">
                  <a:moveTo>
                    <a:pt x="1042" y="29"/>
                  </a:moveTo>
                  <a:cubicBezTo>
                    <a:pt x="1182" y="67"/>
                    <a:pt x="1308" y="141"/>
                    <a:pt x="1408" y="241"/>
                  </a:cubicBezTo>
                  <a:cubicBezTo>
                    <a:pt x="1367" y="263"/>
                    <a:pt x="1321" y="283"/>
                    <a:pt x="1274" y="300"/>
                  </a:cubicBezTo>
                  <a:cubicBezTo>
                    <a:pt x="1262" y="287"/>
                    <a:pt x="1245" y="278"/>
                    <a:pt x="1227" y="278"/>
                  </a:cubicBezTo>
                  <a:cubicBezTo>
                    <a:pt x="1226" y="278"/>
                    <a:pt x="1225" y="278"/>
                    <a:pt x="1225" y="278"/>
                  </a:cubicBezTo>
                  <a:cubicBezTo>
                    <a:pt x="1214" y="254"/>
                    <a:pt x="1202" y="231"/>
                    <a:pt x="1189" y="209"/>
                  </a:cubicBezTo>
                  <a:cubicBezTo>
                    <a:pt x="1146" y="133"/>
                    <a:pt x="1096" y="73"/>
                    <a:pt x="1042" y="29"/>
                  </a:cubicBezTo>
                  <a:close/>
                  <a:moveTo>
                    <a:pt x="882" y="372"/>
                  </a:moveTo>
                  <a:cubicBezTo>
                    <a:pt x="981" y="368"/>
                    <a:pt x="1077" y="355"/>
                    <a:pt x="1166" y="333"/>
                  </a:cubicBezTo>
                  <a:cubicBezTo>
                    <a:pt x="1167" y="318"/>
                    <a:pt x="1174" y="305"/>
                    <a:pt x="1184" y="295"/>
                  </a:cubicBezTo>
                  <a:cubicBezTo>
                    <a:pt x="1174" y="273"/>
                    <a:pt x="1163" y="251"/>
                    <a:pt x="1151" y="231"/>
                  </a:cubicBezTo>
                  <a:cubicBezTo>
                    <a:pt x="1083" y="112"/>
                    <a:pt x="1000" y="34"/>
                    <a:pt x="909" y="4"/>
                  </a:cubicBezTo>
                  <a:cubicBezTo>
                    <a:pt x="889" y="2"/>
                    <a:pt x="869" y="1"/>
                    <a:pt x="848" y="0"/>
                  </a:cubicBezTo>
                  <a:cubicBezTo>
                    <a:pt x="848" y="338"/>
                    <a:pt x="848" y="338"/>
                    <a:pt x="848" y="338"/>
                  </a:cubicBezTo>
                  <a:cubicBezTo>
                    <a:pt x="864" y="344"/>
                    <a:pt x="876" y="356"/>
                    <a:pt x="882" y="372"/>
                  </a:cubicBezTo>
                  <a:close/>
                  <a:moveTo>
                    <a:pt x="804" y="452"/>
                  </a:moveTo>
                  <a:cubicBezTo>
                    <a:pt x="788" y="446"/>
                    <a:pt x="775" y="432"/>
                    <a:pt x="769" y="416"/>
                  </a:cubicBezTo>
                  <a:cubicBezTo>
                    <a:pt x="666" y="412"/>
                    <a:pt x="567" y="398"/>
                    <a:pt x="475" y="375"/>
                  </a:cubicBezTo>
                  <a:cubicBezTo>
                    <a:pt x="464" y="390"/>
                    <a:pt x="446" y="400"/>
                    <a:pt x="427" y="400"/>
                  </a:cubicBezTo>
                  <a:cubicBezTo>
                    <a:pt x="389" y="512"/>
                    <a:pt x="367" y="638"/>
                    <a:pt x="362" y="770"/>
                  </a:cubicBezTo>
                  <a:cubicBezTo>
                    <a:pt x="378" y="776"/>
                    <a:pt x="390" y="788"/>
                    <a:pt x="396" y="804"/>
                  </a:cubicBezTo>
                  <a:cubicBezTo>
                    <a:pt x="769" y="804"/>
                    <a:pt x="769" y="804"/>
                    <a:pt x="769" y="804"/>
                  </a:cubicBezTo>
                  <a:cubicBezTo>
                    <a:pt x="775" y="788"/>
                    <a:pt x="788" y="775"/>
                    <a:pt x="804" y="769"/>
                  </a:cubicBezTo>
                  <a:lnTo>
                    <a:pt x="804" y="452"/>
                  </a:lnTo>
                  <a:close/>
                  <a:moveTo>
                    <a:pt x="1225" y="400"/>
                  </a:moveTo>
                  <a:cubicBezTo>
                    <a:pt x="1206" y="400"/>
                    <a:pt x="1188" y="390"/>
                    <a:pt x="1177" y="375"/>
                  </a:cubicBezTo>
                  <a:cubicBezTo>
                    <a:pt x="1085" y="398"/>
                    <a:pt x="986" y="412"/>
                    <a:pt x="883" y="416"/>
                  </a:cubicBezTo>
                  <a:cubicBezTo>
                    <a:pt x="877" y="432"/>
                    <a:pt x="864" y="446"/>
                    <a:pt x="848" y="452"/>
                  </a:cubicBezTo>
                  <a:cubicBezTo>
                    <a:pt x="848" y="769"/>
                    <a:pt x="848" y="769"/>
                    <a:pt x="848" y="769"/>
                  </a:cubicBezTo>
                  <a:cubicBezTo>
                    <a:pt x="864" y="775"/>
                    <a:pt x="877" y="788"/>
                    <a:pt x="883" y="804"/>
                  </a:cubicBezTo>
                  <a:cubicBezTo>
                    <a:pt x="1256" y="804"/>
                    <a:pt x="1256" y="804"/>
                    <a:pt x="1256" y="804"/>
                  </a:cubicBezTo>
                  <a:cubicBezTo>
                    <a:pt x="1262" y="788"/>
                    <a:pt x="1274" y="776"/>
                    <a:pt x="1290" y="770"/>
                  </a:cubicBezTo>
                  <a:cubicBezTo>
                    <a:pt x="1285" y="638"/>
                    <a:pt x="1263" y="512"/>
                    <a:pt x="1225" y="400"/>
                  </a:cubicBezTo>
                  <a:close/>
                  <a:moveTo>
                    <a:pt x="769" y="848"/>
                  </a:moveTo>
                  <a:cubicBezTo>
                    <a:pt x="396" y="848"/>
                    <a:pt x="396" y="848"/>
                    <a:pt x="396" y="848"/>
                  </a:cubicBezTo>
                  <a:cubicBezTo>
                    <a:pt x="390" y="864"/>
                    <a:pt x="378" y="876"/>
                    <a:pt x="362" y="882"/>
                  </a:cubicBezTo>
                  <a:cubicBezTo>
                    <a:pt x="367" y="1014"/>
                    <a:pt x="389" y="1140"/>
                    <a:pt x="427" y="1252"/>
                  </a:cubicBezTo>
                  <a:cubicBezTo>
                    <a:pt x="446" y="1252"/>
                    <a:pt x="464" y="1262"/>
                    <a:pt x="475" y="1277"/>
                  </a:cubicBezTo>
                  <a:cubicBezTo>
                    <a:pt x="567" y="1254"/>
                    <a:pt x="666" y="1240"/>
                    <a:pt x="769" y="1236"/>
                  </a:cubicBezTo>
                  <a:cubicBezTo>
                    <a:pt x="775" y="1220"/>
                    <a:pt x="788" y="1206"/>
                    <a:pt x="804" y="1200"/>
                  </a:cubicBezTo>
                  <a:cubicBezTo>
                    <a:pt x="804" y="883"/>
                    <a:pt x="804" y="883"/>
                    <a:pt x="804" y="883"/>
                  </a:cubicBezTo>
                  <a:cubicBezTo>
                    <a:pt x="788" y="877"/>
                    <a:pt x="775" y="864"/>
                    <a:pt x="769" y="848"/>
                  </a:cubicBezTo>
                  <a:close/>
                  <a:moveTo>
                    <a:pt x="1151" y="1421"/>
                  </a:moveTo>
                  <a:cubicBezTo>
                    <a:pt x="1163" y="1401"/>
                    <a:pt x="1174" y="1379"/>
                    <a:pt x="1184" y="1357"/>
                  </a:cubicBezTo>
                  <a:cubicBezTo>
                    <a:pt x="1174" y="1347"/>
                    <a:pt x="1167" y="1334"/>
                    <a:pt x="1166" y="1319"/>
                  </a:cubicBezTo>
                  <a:cubicBezTo>
                    <a:pt x="1077" y="1297"/>
                    <a:pt x="981" y="1284"/>
                    <a:pt x="882" y="1280"/>
                  </a:cubicBezTo>
                  <a:cubicBezTo>
                    <a:pt x="876" y="1296"/>
                    <a:pt x="864" y="1308"/>
                    <a:pt x="848" y="1314"/>
                  </a:cubicBezTo>
                  <a:cubicBezTo>
                    <a:pt x="848" y="1652"/>
                    <a:pt x="848" y="1652"/>
                    <a:pt x="848" y="1652"/>
                  </a:cubicBezTo>
                  <a:cubicBezTo>
                    <a:pt x="869" y="1651"/>
                    <a:pt x="889" y="1650"/>
                    <a:pt x="909" y="1648"/>
                  </a:cubicBezTo>
                  <a:cubicBezTo>
                    <a:pt x="1000" y="1618"/>
                    <a:pt x="1083" y="1540"/>
                    <a:pt x="1151" y="1421"/>
                  </a:cubicBezTo>
                  <a:close/>
                  <a:moveTo>
                    <a:pt x="1290" y="882"/>
                  </a:moveTo>
                  <a:cubicBezTo>
                    <a:pt x="1274" y="876"/>
                    <a:pt x="1262" y="864"/>
                    <a:pt x="1256" y="848"/>
                  </a:cubicBezTo>
                  <a:cubicBezTo>
                    <a:pt x="883" y="848"/>
                    <a:pt x="883" y="848"/>
                    <a:pt x="883" y="848"/>
                  </a:cubicBezTo>
                  <a:cubicBezTo>
                    <a:pt x="877" y="864"/>
                    <a:pt x="864" y="877"/>
                    <a:pt x="848" y="883"/>
                  </a:cubicBezTo>
                  <a:cubicBezTo>
                    <a:pt x="848" y="1200"/>
                    <a:pt x="848" y="1200"/>
                    <a:pt x="848" y="1200"/>
                  </a:cubicBezTo>
                  <a:cubicBezTo>
                    <a:pt x="864" y="1206"/>
                    <a:pt x="877" y="1220"/>
                    <a:pt x="883" y="1236"/>
                  </a:cubicBezTo>
                  <a:cubicBezTo>
                    <a:pt x="986" y="1240"/>
                    <a:pt x="1085" y="1254"/>
                    <a:pt x="1177" y="1277"/>
                  </a:cubicBezTo>
                  <a:cubicBezTo>
                    <a:pt x="1188" y="1262"/>
                    <a:pt x="1206" y="1252"/>
                    <a:pt x="1225" y="1252"/>
                  </a:cubicBezTo>
                  <a:cubicBezTo>
                    <a:pt x="1263" y="1140"/>
                    <a:pt x="1285" y="1014"/>
                    <a:pt x="1290" y="882"/>
                  </a:cubicBezTo>
                  <a:close/>
                  <a:moveTo>
                    <a:pt x="1267" y="385"/>
                  </a:moveTo>
                  <a:cubicBezTo>
                    <a:pt x="1306" y="501"/>
                    <a:pt x="1329" y="632"/>
                    <a:pt x="1334" y="769"/>
                  </a:cubicBezTo>
                  <a:cubicBezTo>
                    <a:pt x="1350" y="775"/>
                    <a:pt x="1363" y="788"/>
                    <a:pt x="1370" y="804"/>
                  </a:cubicBezTo>
                  <a:cubicBezTo>
                    <a:pt x="1652" y="804"/>
                    <a:pt x="1652" y="804"/>
                    <a:pt x="1652" y="804"/>
                  </a:cubicBezTo>
                  <a:cubicBezTo>
                    <a:pt x="1646" y="600"/>
                    <a:pt x="1567" y="415"/>
                    <a:pt x="1440" y="274"/>
                  </a:cubicBezTo>
                  <a:cubicBezTo>
                    <a:pt x="1393" y="300"/>
                    <a:pt x="1342" y="323"/>
                    <a:pt x="1287" y="342"/>
                  </a:cubicBezTo>
                  <a:cubicBezTo>
                    <a:pt x="1286" y="359"/>
                    <a:pt x="1279" y="374"/>
                    <a:pt x="1267" y="385"/>
                  </a:cubicBezTo>
                  <a:close/>
                  <a:moveTo>
                    <a:pt x="1274" y="1352"/>
                  </a:moveTo>
                  <a:cubicBezTo>
                    <a:pt x="1262" y="1365"/>
                    <a:pt x="1245" y="1374"/>
                    <a:pt x="1227" y="1374"/>
                  </a:cubicBezTo>
                  <a:cubicBezTo>
                    <a:pt x="1226" y="1374"/>
                    <a:pt x="1225" y="1374"/>
                    <a:pt x="1225" y="1374"/>
                  </a:cubicBezTo>
                  <a:cubicBezTo>
                    <a:pt x="1214" y="1398"/>
                    <a:pt x="1202" y="1421"/>
                    <a:pt x="1189" y="1443"/>
                  </a:cubicBezTo>
                  <a:cubicBezTo>
                    <a:pt x="1146" y="1519"/>
                    <a:pt x="1096" y="1579"/>
                    <a:pt x="1042" y="1623"/>
                  </a:cubicBezTo>
                  <a:cubicBezTo>
                    <a:pt x="1182" y="1585"/>
                    <a:pt x="1308" y="1511"/>
                    <a:pt x="1408" y="1411"/>
                  </a:cubicBezTo>
                  <a:cubicBezTo>
                    <a:pt x="1367" y="1389"/>
                    <a:pt x="1321" y="1369"/>
                    <a:pt x="1274" y="1352"/>
                  </a:cubicBezTo>
                  <a:close/>
                  <a:moveTo>
                    <a:pt x="463" y="1443"/>
                  </a:moveTo>
                  <a:cubicBezTo>
                    <a:pt x="450" y="1421"/>
                    <a:pt x="438" y="1398"/>
                    <a:pt x="427" y="1374"/>
                  </a:cubicBezTo>
                  <a:cubicBezTo>
                    <a:pt x="427" y="1374"/>
                    <a:pt x="426" y="1374"/>
                    <a:pt x="426" y="1374"/>
                  </a:cubicBezTo>
                  <a:cubicBezTo>
                    <a:pt x="407" y="1374"/>
                    <a:pt x="390" y="1365"/>
                    <a:pt x="378" y="1352"/>
                  </a:cubicBezTo>
                  <a:cubicBezTo>
                    <a:pt x="331" y="1369"/>
                    <a:pt x="285" y="1389"/>
                    <a:pt x="244" y="1411"/>
                  </a:cubicBezTo>
                  <a:cubicBezTo>
                    <a:pt x="344" y="1511"/>
                    <a:pt x="470" y="1585"/>
                    <a:pt x="610" y="1623"/>
                  </a:cubicBezTo>
                  <a:cubicBezTo>
                    <a:pt x="556" y="1579"/>
                    <a:pt x="506" y="1519"/>
                    <a:pt x="463" y="1443"/>
                  </a:cubicBezTo>
                  <a:close/>
                  <a:moveTo>
                    <a:pt x="770" y="1280"/>
                  </a:moveTo>
                  <a:cubicBezTo>
                    <a:pt x="671" y="1284"/>
                    <a:pt x="575" y="1297"/>
                    <a:pt x="486" y="1319"/>
                  </a:cubicBezTo>
                  <a:cubicBezTo>
                    <a:pt x="485" y="1334"/>
                    <a:pt x="478" y="1347"/>
                    <a:pt x="468" y="1357"/>
                  </a:cubicBezTo>
                  <a:cubicBezTo>
                    <a:pt x="478" y="1379"/>
                    <a:pt x="489" y="1401"/>
                    <a:pt x="501" y="1421"/>
                  </a:cubicBezTo>
                  <a:cubicBezTo>
                    <a:pt x="569" y="1540"/>
                    <a:pt x="652" y="1618"/>
                    <a:pt x="743" y="1648"/>
                  </a:cubicBezTo>
                  <a:cubicBezTo>
                    <a:pt x="763" y="1650"/>
                    <a:pt x="783" y="1651"/>
                    <a:pt x="804" y="1652"/>
                  </a:cubicBezTo>
                  <a:cubicBezTo>
                    <a:pt x="804" y="1314"/>
                    <a:pt x="804" y="1314"/>
                    <a:pt x="804" y="1314"/>
                  </a:cubicBezTo>
                  <a:cubicBezTo>
                    <a:pt x="788" y="1308"/>
                    <a:pt x="776" y="1296"/>
                    <a:pt x="770" y="1280"/>
                  </a:cubicBezTo>
                  <a:close/>
                  <a:moveTo>
                    <a:pt x="1370" y="848"/>
                  </a:moveTo>
                  <a:cubicBezTo>
                    <a:pt x="1363" y="864"/>
                    <a:pt x="1350" y="877"/>
                    <a:pt x="1334" y="883"/>
                  </a:cubicBezTo>
                  <a:cubicBezTo>
                    <a:pt x="1329" y="1020"/>
                    <a:pt x="1306" y="1151"/>
                    <a:pt x="1267" y="1267"/>
                  </a:cubicBezTo>
                  <a:cubicBezTo>
                    <a:pt x="1279" y="1278"/>
                    <a:pt x="1286" y="1293"/>
                    <a:pt x="1287" y="1310"/>
                  </a:cubicBezTo>
                  <a:cubicBezTo>
                    <a:pt x="1342" y="1329"/>
                    <a:pt x="1393" y="1352"/>
                    <a:pt x="1440" y="1378"/>
                  </a:cubicBezTo>
                  <a:cubicBezTo>
                    <a:pt x="1567" y="1237"/>
                    <a:pt x="1646" y="1052"/>
                    <a:pt x="1652" y="848"/>
                  </a:cubicBezTo>
                  <a:lnTo>
                    <a:pt x="1370" y="848"/>
                  </a:lnTo>
                  <a:close/>
                  <a:moveTo>
                    <a:pt x="804" y="0"/>
                  </a:moveTo>
                  <a:cubicBezTo>
                    <a:pt x="783" y="1"/>
                    <a:pt x="763" y="2"/>
                    <a:pt x="743" y="4"/>
                  </a:cubicBezTo>
                  <a:cubicBezTo>
                    <a:pt x="652" y="34"/>
                    <a:pt x="569" y="112"/>
                    <a:pt x="501" y="231"/>
                  </a:cubicBezTo>
                  <a:cubicBezTo>
                    <a:pt x="489" y="251"/>
                    <a:pt x="478" y="273"/>
                    <a:pt x="468" y="295"/>
                  </a:cubicBezTo>
                  <a:cubicBezTo>
                    <a:pt x="478" y="305"/>
                    <a:pt x="485" y="318"/>
                    <a:pt x="486" y="333"/>
                  </a:cubicBezTo>
                  <a:cubicBezTo>
                    <a:pt x="575" y="355"/>
                    <a:pt x="671" y="368"/>
                    <a:pt x="770" y="372"/>
                  </a:cubicBezTo>
                  <a:cubicBezTo>
                    <a:pt x="776" y="356"/>
                    <a:pt x="788" y="344"/>
                    <a:pt x="804" y="338"/>
                  </a:cubicBezTo>
                  <a:lnTo>
                    <a:pt x="804" y="0"/>
                  </a:lnTo>
                  <a:close/>
                  <a:moveTo>
                    <a:pt x="378" y="300"/>
                  </a:moveTo>
                  <a:cubicBezTo>
                    <a:pt x="390" y="287"/>
                    <a:pt x="407" y="278"/>
                    <a:pt x="426" y="278"/>
                  </a:cubicBezTo>
                  <a:cubicBezTo>
                    <a:pt x="426" y="278"/>
                    <a:pt x="427" y="278"/>
                    <a:pt x="427" y="278"/>
                  </a:cubicBezTo>
                  <a:cubicBezTo>
                    <a:pt x="438" y="254"/>
                    <a:pt x="450" y="231"/>
                    <a:pt x="463" y="209"/>
                  </a:cubicBezTo>
                  <a:cubicBezTo>
                    <a:pt x="506" y="133"/>
                    <a:pt x="556" y="73"/>
                    <a:pt x="610" y="29"/>
                  </a:cubicBezTo>
                  <a:cubicBezTo>
                    <a:pt x="470" y="67"/>
                    <a:pt x="344" y="141"/>
                    <a:pt x="244" y="241"/>
                  </a:cubicBezTo>
                  <a:cubicBezTo>
                    <a:pt x="285" y="263"/>
                    <a:pt x="331" y="283"/>
                    <a:pt x="378" y="300"/>
                  </a:cubicBezTo>
                  <a:close/>
                  <a:moveTo>
                    <a:pt x="282" y="804"/>
                  </a:moveTo>
                  <a:cubicBezTo>
                    <a:pt x="289" y="788"/>
                    <a:pt x="302" y="775"/>
                    <a:pt x="318" y="769"/>
                  </a:cubicBezTo>
                  <a:cubicBezTo>
                    <a:pt x="323" y="632"/>
                    <a:pt x="346" y="501"/>
                    <a:pt x="385" y="385"/>
                  </a:cubicBezTo>
                  <a:cubicBezTo>
                    <a:pt x="373" y="374"/>
                    <a:pt x="366" y="359"/>
                    <a:pt x="365" y="342"/>
                  </a:cubicBezTo>
                  <a:cubicBezTo>
                    <a:pt x="310" y="323"/>
                    <a:pt x="259" y="300"/>
                    <a:pt x="212" y="274"/>
                  </a:cubicBezTo>
                  <a:cubicBezTo>
                    <a:pt x="85" y="415"/>
                    <a:pt x="6" y="600"/>
                    <a:pt x="0" y="804"/>
                  </a:cubicBezTo>
                  <a:lnTo>
                    <a:pt x="282" y="804"/>
                  </a:lnTo>
                  <a:close/>
                  <a:moveTo>
                    <a:pt x="385" y="1267"/>
                  </a:moveTo>
                  <a:cubicBezTo>
                    <a:pt x="346" y="1151"/>
                    <a:pt x="323" y="1020"/>
                    <a:pt x="318" y="883"/>
                  </a:cubicBezTo>
                  <a:cubicBezTo>
                    <a:pt x="302" y="877"/>
                    <a:pt x="289" y="864"/>
                    <a:pt x="282" y="848"/>
                  </a:cubicBezTo>
                  <a:cubicBezTo>
                    <a:pt x="0" y="848"/>
                    <a:pt x="0" y="848"/>
                    <a:pt x="0" y="848"/>
                  </a:cubicBezTo>
                  <a:cubicBezTo>
                    <a:pt x="6" y="1052"/>
                    <a:pt x="85" y="1237"/>
                    <a:pt x="212" y="1378"/>
                  </a:cubicBezTo>
                  <a:cubicBezTo>
                    <a:pt x="259" y="1352"/>
                    <a:pt x="310" y="1329"/>
                    <a:pt x="365" y="1310"/>
                  </a:cubicBezTo>
                  <a:cubicBezTo>
                    <a:pt x="366" y="1293"/>
                    <a:pt x="373" y="1278"/>
                    <a:pt x="385" y="1267"/>
                  </a:cubicBez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69666" name="AutoShape 6" descr="blob:https://web.whatsapp.com/0c2bff86-4b70-4fa6-870c-65f6a1866ced"/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>
              <a:latin typeface="PT Sans Caption"/>
            </a:endParaRPr>
          </a:p>
        </p:txBody>
      </p:sp>
    </p:spTree>
    <p:custDataLst>
      <p:tags r:id="rId2"/>
    </p:custData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660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63" y="11113"/>
          <a:ext cx="1587" cy="1587"/>
        </p:xfrm>
        <a:graphic>
          <a:graphicData uri="http://schemas.openxmlformats.org/presentationml/2006/ole">
            <p:oleObj spid="_x0000_s70660" name="think-cell Slide" r:id="rId4" imgW="360" imgH="360" progId="">
              <p:embed/>
            </p:oleObj>
          </a:graphicData>
        </a:graphic>
      </p:graphicFrame>
      <p:pic>
        <p:nvPicPr>
          <p:cNvPr id="70661" name="Picture 43"/>
          <p:cNvPicPr preferRelativeResize="0">
            <a:picLocks noChangeAspect="1" noChangeArrowheads="1"/>
          </p:cNvPicPr>
          <p:nvPr/>
        </p:nvPicPr>
        <p:blipFill>
          <a:blip r:embed="rId5"/>
          <a:srcRect l="-56" t="571" r="55" b="32591"/>
          <a:stretch>
            <a:fillRect/>
          </a:stretch>
        </p:blipFill>
        <p:spPr bwMode="auto">
          <a:xfrm>
            <a:off x="11353800" y="111125"/>
            <a:ext cx="728663" cy="93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446088" y="395288"/>
            <a:ext cx="10907712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933420" fontAlgn="auto">
              <a:spcAft>
                <a:spcPts val="0"/>
              </a:spcAft>
              <a:defRPr/>
            </a:pPr>
            <a:r>
              <a:rPr lang="ru-RU" sz="2160" b="1" dirty="0">
                <a:solidFill>
                  <a:srgbClr val="F2F2F2"/>
                </a:solidFill>
                <a:cs typeface="Helvetica"/>
              </a:rPr>
              <a:t>Нормативная база системы маркировки</a:t>
            </a:r>
            <a:endParaRPr lang="bg-BG" sz="2160" dirty="0">
              <a:solidFill>
                <a:srgbClr val="F2F2F2"/>
              </a:solidFill>
              <a:cs typeface="Helvetica"/>
            </a:endParaRPr>
          </a:p>
        </p:txBody>
      </p:sp>
      <p:sp>
        <p:nvSpPr>
          <p:cNvPr id="2" name="TextBox 1">
            <a:extLst>
              <a:ext uri="{FF2B5EF4-FFF2-40B4-BE49-F238E27FC236}"/>
            </a:extLst>
          </p:cNvPr>
          <p:cNvSpPr txBox="1"/>
          <p:nvPr/>
        </p:nvSpPr>
        <p:spPr>
          <a:xfrm>
            <a:off x="254000" y="4251325"/>
            <a:ext cx="11491913" cy="2311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/>
            </a:extLst>
          </p:cNvPr>
          <p:cNvSpPr txBox="1"/>
          <p:nvPr/>
        </p:nvSpPr>
        <p:spPr>
          <a:xfrm>
            <a:off x="254000" y="2841625"/>
            <a:ext cx="11491913" cy="28463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Вступили в силу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Распоряжение Правительства РФ от 28.12.2018 N 2963-р «Об утверждении Концепции создания и функционирования в Российской Федерации системы маркировки товаров средствами идентификации и прослеживаемости движения товаров»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65113" indent="-265113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Федеральный закон от 25 декабря 2018 г. № 488-ФЗ</a:t>
            </a:r>
          </a:p>
          <a:p>
            <a:pPr marL="2651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“О внесении изменений в Федеральный закон 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N 381-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ФЗ «Об основах государственного</a:t>
            </a:r>
          </a:p>
          <a:p>
            <a:pPr marL="26511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регулирования торговой деятельности в Российской Федерации» и статьи 4.4 и 4.5 Федерального закона 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N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54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-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ФЗ «О применении контрольно-кассовой техники при осуществлении расчетов в Российской Федерации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В стадии обсужден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Постановление Об утверждении Правил маркировки</a:t>
            </a:r>
            <a:r>
              <a:rPr lang="ru-RU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табачной продукции средствами идентификации и особенностях</a:t>
            </a:r>
            <a:r>
              <a:rPr lang="ru-RU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внедрения государственной информационной системы мониторинга</a:t>
            </a:r>
            <a:r>
              <a:rPr lang="ru-RU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товаров, подлежащих маркировке средствами идентификации,</a:t>
            </a:r>
            <a:r>
              <a:rPr lang="ru-RU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в отношении табачной продукции 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  <a:hlinkClick r:id="rId6"/>
              </a:rPr>
              <a:t>https://regulation.gov.ru/projects#</a:t>
            </a:r>
            <a:r>
              <a:rPr lang="en-US" b="1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</a:t>
            </a:r>
            <a:endParaRPr lang="ru-RU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6511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b="1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err="1">
              <a:solidFill>
                <a:srgbClr val="595959"/>
              </a:solidFill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684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1684" name="think-cell Slide" r:id="rId5" imgW="360" imgH="360" progId="">
              <p:embed/>
            </p:oleObj>
          </a:graphicData>
        </a:graphic>
      </p:graphicFrame>
      <p:sp>
        <p:nvSpPr>
          <p:cNvPr id="3" name="Прямоугольник 2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ru-RU" sz="2400" dirty="0">
              <a:solidFill>
                <a:srgbClr val="FFFFFF"/>
              </a:solidFill>
              <a:ea typeface="+mj-ea"/>
              <a:cs typeface="+mj-cs"/>
              <a:sym typeface="PT Sans Caption" panose="020B060302020302020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1093788"/>
            <a:ext cx="12192000" cy="396875"/>
          </a:xfrm>
          <a:prstGeom prst="rect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7" name="Oval 6"/>
          <p:cNvSpPr>
            <a:spLocks noChangeAspect="1"/>
          </p:cNvSpPr>
          <p:nvPr/>
        </p:nvSpPr>
        <p:spPr>
          <a:xfrm>
            <a:off x="4383627" y="2225879"/>
            <a:ext cx="3426096" cy="3426095"/>
          </a:xfrm>
          <a:prstGeom prst="ellipse">
            <a:avLst/>
          </a:prstGeom>
          <a:solidFill>
            <a:schemeClr val="bg1"/>
          </a:solidFill>
          <a:ln w="76200" cap="flat" cmpd="sng" algn="ctr">
            <a:gradFill flip="none" rotWithShape="1">
              <a:gsLst>
                <a:gs pos="35000">
                  <a:srgbClr val="595959"/>
                </a:gs>
                <a:gs pos="100000">
                  <a:srgbClr val="F6F42E"/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rgbClr val="595959"/>
              </a:solidFill>
            </a:endParaRPr>
          </a:p>
        </p:txBody>
      </p:sp>
      <p:sp>
        <p:nvSpPr>
          <p:cNvPr id="71690" name="TextBox 7"/>
          <p:cNvSpPr txBox="1">
            <a:spLocks noChangeArrowheads="1"/>
          </p:cNvSpPr>
          <p:nvPr/>
        </p:nvSpPr>
        <p:spPr bwMode="auto">
          <a:xfrm>
            <a:off x="1414463" y="3938588"/>
            <a:ext cx="2286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108000" bIns="0" anchor="ctr">
            <a:spAutoFit/>
          </a:bodyPr>
          <a:lstStyle/>
          <a:p>
            <a:pPr algn="r">
              <a:buSzPct val="100000"/>
              <a:buFont typeface="Trebuchet MS" pitchFamily="34" charset="0"/>
              <a:buChar char="​"/>
            </a:pPr>
            <a:r>
              <a:rPr lang="ru-RU" sz="2000" b="1">
                <a:solidFill>
                  <a:srgbClr val="595959"/>
                </a:solidFill>
                <a:latin typeface="PT Sans Caption"/>
                <a:ea typeface="Open Sans"/>
                <a:cs typeface="Open Sans"/>
              </a:rPr>
              <a:t>Бизнес</a:t>
            </a:r>
          </a:p>
        </p:txBody>
      </p:sp>
      <p:sp>
        <p:nvSpPr>
          <p:cNvPr id="71691" name="TextBox 8"/>
          <p:cNvSpPr txBox="1">
            <a:spLocks noChangeArrowheads="1"/>
          </p:cNvSpPr>
          <p:nvPr/>
        </p:nvSpPr>
        <p:spPr bwMode="auto">
          <a:xfrm>
            <a:off x="8012113" y="2944813"/>
            <a:ext cx="2286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0" rIns="0" bIns="0" anchor="ctr">
            <a:spAutoFit/>
          </a:bodyPr>
          <a:lstStyle/>
          <a:p>
            <a:pPr indent="-341313">
              <a:buSzPct val="100000"/>
              <a:buFont typeface="Trebuchet MS" pitchFamily="34" charset="0"/>
              <a:buChar char="​"/>
            </a:pPr>
            <a:r>
              <a:rPr lang="ru-RU" sz="2000" b="1">
                <a:solidFill>
                  <a:srgbClr val="595959"/>
                </a:solidFill>
                <a:latin typeface="PT Sans Caption"/>
                <a:ea typeface="Open Sans"/>
                <a:cs typeface="Open Sans"/>
              </a:rPr>
              <a:t>Государство</a:t>
            </a: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5501483" y="1673496"/>
            <a:ext cx="1189035" cy="1188573"/>
          </a:xfrm>
          <a:prstGeom prst="ellipse">
            <a:avLst/>
          </a:prstGeom>
          <a:solidFill>
            <a:schemeClr val="bg1"/>
          </a:solidFill>
          <a:ln w="38100" cap="flat" cmpd="sng" algn="ctr">
            <a:gradFill flip="none" rotWithShape="1">
              <a:gsLst>
                <a:gs pos="35000">
                  <a:srgbClr val="595959"/>
                </a:gs>
                <a:gs pos="100000">
                  <a:srgbClr val="F6F42E"/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rgbClr val="595959"/>
              </a:solidFill>
            </a:endParaRPr>
          </a:p>
        </p:txBody>
      </p:sp>
      <p:grpSp>
        <p:nvGrpSpPr>
          <p:cNvPr id="71695" name="Group 4"/>
          <p:cNvGrpSpPr>
            <a:grpSpLocks/>
          </p:cNvGrpSpPr>
          <p:nvPr/>
        </p:nvGrpSpPr>
        <p:grpSpPr bwMode="auto">
          <a:xfrm>
            <a:off x="3894138" y="3738563"/>
            <a:ext cx="1189037" cy="1187450"/>
            <a:chOff x="3894831" y="3618754"/>
            <a:chExt cx="1189035" cy="1188573"/>
          </a:xfrm>
        </p:grpSpPr>
        <p:sp>
          <p:nvSpPr>
            <p:cNvPr id="10" name="Oval 9"/>
            <p:cNvSpPr>
              <a:spLocks noChangeAspect="1"/>
            </p:cNvSpPr>
            <p:nvPr/>
          </p:nvSpPr>
          <p:spPr>
            <a:xfrm>
              <a:off x="3894831" y="3618754"/>
              <a:ext cx="1189035" cy="1188573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gradFill flip="none" rotWithShape="1">
                <a:gsLst>
                  <a:gs pos="35000">
                    <a:srgbClr val="595959"/>
                  </a:gs>
                  <a:gs pos="100000">
                    <a:srgbClr val="F6F42E"/>
                  </a:gs>
                </a:gsLst>
                <a:lin ang="27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 dirty="0">
                <a:solidFill>
                  <a:srgbClr val="595959"/>
                </a:solidFill>
              </a:endParaRPr>
            </a:p>
          </p:txBody>
        </p:sp>
        <p:grpSp>
          <p:nvGrpSpPr>
            <p:cNvPr id="71726" name="bcgIcons_Business"/>
            <p:cNvGrpSpPr>
              <a:grpSpLocks noChangeAspect="1"/>
            </p:cNvGrpSpPr>
            <p:nvPr/>
          </p:nvGrpSpPr>
          <p:grpSpPr bwMode="auto">
            <a:xfrm>
              <a:off x="4099840" y="3804498"/>
              <a:ext cx="779016" cy="779739"/>
              <a:chOff x="1682" y="0"/>
              <a:chExt cx="4316" cy="4320"/>
            </a:xfrm>
          </p:grpSpPr>
          <p:sp>
            <p:nvSpPr>
              <p:cNvPr id="14" name="AutoShape 8">
                <a:extLst>
                  <a:ext uri="{FF2B5EF4-FFF2-40B4-BE49-F238E27FC236}"/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1" y="1"/>
                <a:ext cx="4318" cy="43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/>
                <a:ext uri="{91240B29-F687-4F45-9708-019B960494DF}"/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351" dirty="0">
                  <a:latin typeface="PT Sans Caption"/>
                  <a:cs typeface="+mn-cs"/>
                </a:endParaRPr>
              </a:p>
            </p:txBody>
          </p:sp>
          <p:sp>
            <p:nvSpPr>
              <p:cNvPr id="15" name="Freeform 10">
                <a:extLst>
                  <a:ext uri="{FF2B5EF4-FFF2-40B4-BE49-F238E27FC236}"/>
                </a:extLst>
              </p:cNvPr>
              <p:cNvSpPr>
                <a:spLocks/>
              </p:cNvSpPr>
              <p:nvPr/>
            </p:nvSpPr>
            <p:spPr bwMode="auto">
              <a:xfrm>
                <a:off x="2191" y="1436"/>
                <a:ext cx="3298" cy="1092"/>
              </a:xfrm>
              <a:custGeom>
                <a:avLst/>
                <a:gdLst>
                  <a:gd name="T0" fmla="*/ 1756 w 1760"/>
                  <a:gd name="T1" fmla="*/ 0 h 580"/>
                  <a:gd name="T2" fmla="*/ 4 w 1760"/>
                  <a:gd name="T3" fmla="*/ 0 h 580"/>
                  <a:gd name="T4" fmla="*/ 0 w 1760"/>
                  <a:gd name="T5" fmla="*/ 4 h 580"/>
                  <a:gd name="T6" fmla="*/ 0 w 1760"/>
                  <a:gd name="T7" fmla="*/ 8 h 580"/>
                  <a:gd name="T8" fmla="*/ 213 w 1760"/>
                  <a:gd name="T9" fmla="*/ 475 h 580"/>
                  <a:gd name="T10" fmla="*/ 445 w 1760"/>
                  <a:gd name="T11" fmla="*/ 580 h 580"/>
                  <a:gd name="T12" fmla="*/ 729 w 1760"/>
                  <a:gd name="T13" fmla="*/ 580 h 580"/>
                  <a:gd name="T14" fmla="*/ 729 w 1760"/>
                  <a:gd name="T15" fmla="*/ 487 h 580"/>
                  <a:gd name="T16" fmla="*/ 803 w 1760"/>
                  <a:gd name="T17" fmla="*/ 413 h 580"/>
                  <a:gd name="T18" fmla="*/ 957 w 1760"/>
                  <a:gd name="T19" fmla="*/ 413 h 580"/>
                  <a:gd name="T20" fmla="*/ 1031 w 1760"/>
                  <a:gd name="T21" fmla="*/ 487 h 580"/>
                  <a:gd name="T22" fmla="*/ 1031 w 1760"/>
                  <a:gd name="T23" fmla="*/ 580 h 580"/>
                  <a:gd name="T24" fmla="*/ 1297 w 1760"/>
                  <a:gd name="T25" fmla="*/ 580 h 580"/>
                  <a:gd name="T26" fmla="*/ 1529 w 1760"/>
                  <a:gd name="T27" fmla="*/ 475 h 580"/>
                  <a:gd name="T28" fmla="*/ 1760 w 1760"/>
                  <a:gd name="T29" fmla="*/ 8 h 580"/>
                  <a:gd name="T30" fmla="*/ 1760 w 1760"/>
                  <a:gd name="T31" fmla="*/ 4 h 580"/>
                  <a:gd name="T32" fmla="*/ 1756 w 1760"/>
                  <a:gd name="T33" fmla="*/ 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0" h="580">
                    <a:moveTo>
                      <a:pt x="175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92" y="308"/>
                      <a:pt x="213" y="475"/>
                    </a:cubicBezTo>
                    <a:cubicBezTo>
                      <a:pt x="289" y="579"/>
                      <a:pt x="307" y="580"/>
                      <a:pt x="445" y="580"/>
                    </a:cubicBezTo>
                    <a:cubicBezTo>
                      <a:pt x="729" y="580"/>
                      <a:pt x="729" y="580"/>
                      <a:pt x="729" y="580"/>
                    </a:cubicBezTo>
                    <a:cubicBezTo>
                      <a:pt x="729" y="487"/>
                      <a:pt x="729" y="487"/>
                      <a:pt x="729" y="487"/>
                    </a:cubicBezTo>
                    <a:cubicBezTo>
                      <a:pt x="729" y="447"/>
                      <a:pt x="763" y="413"/>
                      <a:pt x="803" y="413"/>
                    </a:cubicBezTo>
                    <a:cubicBezTo>
                      <a:pt x="957" y="413"/>
                      <a:pt x="957" y="413"/>
                      <a:pt x="957" y="413"/>
                    </a:cubicBezTo>
                    <a:cubicBezTo>
                      <a:pt x="997" y="413"/>
                      <a:pt x="1031" y="447"/>
                      <a:pt x="1031" y="487"/>
                    </a:cubicBezTo>
                    <a:cubicBezTo>
                      <a:pt x="1031" y="580"/>
                      <a:pt x="1031" y="580"/>
                      <a:pt x="1031" y="580"/>
                    </a:cubicBezTo>
                    <a:cubicBezTo>
                      <a:pt x="1297" y="580"/>
                      <a:pt x="1297" y="580"/>
                      <a:pt x="1297" y="580"/>
                    </a:cubicBezTo>
                    <a:cubicBezTo>
                      <a:pt x="1419" y="580"/>
                      <a:pt x="1463" y="568"/>
                      <a:pt x="1529" y="475"/>
                    </a:cubicBezTo>
                    <a:cubicBezTo>
                      <a:pt x="1652" y="303"/>
                      <a:pt x="1760" y="8"/>
                      <a:pt x="1760" y="8"/>
                    </a:cubicBezTo>
                    <a:cubicBezTo>
                      <a:pt x="1760" y="4"/>
                      <a:pt x="1760" y="4"/>
                      <a:pt x="1760" y="4"/>
                    </a:cubicBezTo>
                    <a:cubicBezTo>
                      <a:pt x="1760" y="2"/>
                      <a:pt x="1758" y="0"/>
                      <a:pt x="17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351" dirty="0">
                  <a:latin typeface="PT Sans Caption"/>
                  <a:cs typeface="+mn-cs"/>
                </a:endParaRPr>
              </a:p>
            </p:txBody>
          </p:sp>
          <p:sp>
            <p:nvSpPr>
              <p:cNvPr id="16" name="Freeform 11">
                <a:extLst>
                  <a:ext uri="{FF2B5EF4-FFF2-40B4-BE49-F238E27FC236}"/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12" y="670"/>
                <a:ext cx="3457" cy="2976"/>
              </a:xfrm>
              <a:custGeom>
                <a:avLst/>
                <a:gdLst>
                  <a:gd name="T0" fmla="*/ 517 w 1844"/>
                  <a:gd name="T1" fmla="*/ 329 h 1585"/>
                  <a:gd name="T2" fmla="*/ 517 w 1844"/>
                  <a:gd name="T3" fmla="*/ 154 h 1585"/>
                  <a:gd name="T4" fmla="*/ 670 w 1844"/>
                  <a:gd name="T5" fmla="*/ 0 h 1585"/>
                  <a:gd name="T6" fmla="*/ 1174 w 1844"/>
                  <a:gd name="T7" fmla="*/ 0 h 1585"/>
                  <a:gd name="T8" fmla="*/ 1327 w 1844"/>
                  <a:gd name="T9" fmla="*/ 154 h 1585"/>
                  <a:gd name="T10" fmla="*/ 1327 w 1844"/>
                  <a:gd name="T11" fmla="*/ 329 h 1585"/>
                  <a:gd name="T12" fmla="*/ 1239 w 1844"/>
                  <a:gd name="T13" fmla="*/ 329 h 1585"/>
                  <a:gd name="T14" fmla="*/ 1239 w 1844"/>
                  <a:gd name="T15" fmla="*/ 154 h 1585"/>
                  <a:gd name="T16" fmla="*/ 1174 w 1844"/>
                  <a:gd name="T17" fmla="*/ 88 h 1585"/>
                  <a:gd name="T18" fmla="*/ 670 w 1844"/>
                  <a:gd name="T19" fmla="*/ 88 h 1585"/>
                  <a:gd name="T20" fmla="*/ 605 w 1844"/>
                  <a:gd name="T21" fmla="*/ 154 h 1585"/>
                  <a:gd name="T22" fmla="*/ 605 w 1844"/>
                  <a:gd name="T23" fmla="*/ 329 h 1585"/>
                  <a:gd name="T24" fmla="*/ 517 w 1844"/>
                  <a:gd name="T25" fmla="*/ 329 h 1585"/>
                  <a:gd name="T26" fmla="*/ 1844 w 1844"/>
                  <a:gd name="T27" fmla="*/ 1541 h 1585"/>
                  <a:gd name="T28" fmla="*/ 1844 w 1844"/>
                  <a:gd name="T29" fmla="*/ 413 h 1585"/>
                  <a:gd name="T30" fmla="*/ 1800 w 1844"/>
                  <a:gd name="T31" fmla="*/ 369 h 1585"/>
                  <a:gd name="T32" fmla="*/ 44 w 1844"/>
                  <a:gd name="T33" fmla="*/ 369 h 1585"/>
                  <a:gd name="T34" fmla="*/ 0 w 1844"/>
                  <a:gd name="T35" fmla="*/ 413 h 1585"/>
                  <a:gd name="T36" fmla="*/ 0 w 1844"/>
                  <a:gd name="T37" fmla="*/ 1541 h 1585"/>
                  <a:gd name="T38" fmla="*/ 44 w 1844"/>
                  <a:gd name="T39" fmla="*/ 1585 h 1585"/>
                  <a:gd name="T40" fmla="*/ 1800 w 1844"/>
                  <a:gd name="T41" fmla="*/ 1585 h 1585"/>
                  <a:gd name="T42" fmla="*/ 1844 w 1844"/>
                  <a:gd name="T43" fmla="*/ 1541 h 1585"/>
                  <a:gd name="T44" fmla="*/ 1800 w 1844"/>
                  <a:gd name="T45" fmla="*/ 413 h 1585"/>
                  <a:gd name="T46" fmla="*/ 1800 w 1844"/>
                  <a:gd name="T47" fmla="*/ 1541 h 1585"/>
                  <a:gd name="T48" fmla="*/ 44 w 1844"/>
                  <a:gd name="T49" fmla="*/ 1541 h 1585"/>
                  <a:gd name="T50" fmla="*/ 44 w 1844"/>
                  <a:gd name="T51" fmla="*/ 413 h 1585"/>
                  <a:gd name="T52" fmla="*/ 1800 w 1844"/>
                  <a:gd name="T53" fmla="*/ 413 h 1585"/>
                  <a:gd name="T54" fmla="*/ 1031 w 1844"/>
                  <a:gd name="T55" fmla="*/ 892 h 1585"/>
                  <a:gd name="T56" fmla="*/ 1031 w 1844"/>
                  <a:gd name="T57" fmla="*/ 1132 h 1585"/>
                  <a:gd name="T58" fmla="*/ 999 w 1844"/>
                  <a:gd name="T59" fmla="*/ 1164 h 1585"/>
                  <a:gd name="T60" fmla="*/ 845 w 1844"/>
                  <a:gd name="T61" fmla="*/ 1164 h 1585"/>
                  <a:gd name="T62" fmla="*/ 813 w 1844"/>
                  <a:gd name="T63" fmla="*/ 1132 h 1585"/>
                  <a:gd name="T64" fmla="*/ 813 w 1844"/>
                  <a:gd name="T65" fmla="*/ 892 h 1585"/>
                  <a:gd name="T66" fmla="*/ 845 w 1844"/>
                  <a:gd name="T67" fmla="*/ 860 h 1585"/>
                  <a:gd name="T68" fmla="*/ 999 w 1844"/>
                  <a:gd name="T69" fmla="*/ 860 h 1585"/>
                  <a:gd name="T70" fmla="*/ 1031 w 1844"/>
                  <a:gd name="T71" fmla="*/ 892 h 1585"/>
                  <a:gd name="T72" fmla="*/ 857 w 1844"/>
                  <a:gd name="T73" fmla="*/ 904 h 1585"/>
                  <a:gd name="T74" fmla="*/ 857 w 1844"/>
                  <a:gd name="T75" fmla="*/ 1029 h 1585"/>
                  <a:gd name="T76" fmla="*/ 987 w 1844"/>
                  <a:gd name="T77" fmla="*/ 1029 h 1585"/>
                  <a:gd name="T78" fmla="*/ 987 w 1844"/>
                  <a:gd name="T79" fmla="*/ 904 h 1585"/>
                  <a:gd name="T80" fmla="*/ 857 w 1844"/>
                  <a:gd name="T81" fmla="*/ 904 h 1585"/>
                  <a:gd name="T82" fmla="*/ 987 w 1844"/>
                  <a:gd name="T83" fmla="*/ 1120 h 1585"/>
                  <a:gd name="T84" fmla="*/ 987 w 1844"/>
                  <a:gd name="T85" fmla="*/ 1073 h 1585"/>
                  <a:gd name="T86" fmla="*/ 857 w 1844"/>
                  <a:gd name="T87" fmla="*/ 1073 h 1585"/>
                  <a:gd name="T88" fmla="*/ 857 w 1844"/>
                  <a:gd name="T89" fmla="*/ 1120 h 1585"/>
                  <a:gd name="T90" fmla="*/ 987 w 1844"/>
                  <a:gd name="T91" fmla="*/ 1120 h 1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44" h="1585">
                    <a:moveTo>
                      <a:pt x="517" y="329"/>
                    </a:moveTo>
                    <a:cubicBezTo>
                      <a:pt x="517" y="154"/>
                      <a:pt x="517" y="154"/>
                      <a:pt x="517" y="154"/>
                    </a:cubicBezTo>
                    <a:cubicBezTo>
                      <a:pt x="517" y="69"/>
                      <a:pt x="585" y="0"/>
                      <a:pt x="670" y="0"/>
                    </a:cubicBezTo>
                    <a:cubicBezTo>
                      <a:pt x="1174" y="0"/>
                      <a:pt x="1174" y="0"/>
                      <a:pt x="1174" y="0"/>
                    </a:cubicBezTo>
                    <a:cubicBezTo>
                      <a:pt x="1259" y="0"/>
                      <a:pt x="1327" y="69"/>
                      <a:pt x="1327" y="154"/>
                    </a:cubicBezTo>
                    <a:cubicBezTo>
                      <a:pt x="1327" y="329"/>
                      <a:pt x="1327" y="329"/>
                      <a:pt x="1327" y="329"/>
                    </a:cubicBezTo>
                    <a:cubicBezTo>
                      <a:pt x="1239" y="329"/>
                      <a:pt x="1239" y="329"/>
                      <a:pt x="1239" y="329"/>
                    </a:cubicBezTo>
                    <a:cubicBezTo>
                      <a:pt x="1239" y="154"/>
                      <a:pt x="1239" y="154"/>
                      <a:pt x="1239" y="154"/>
                    </a:cubicBezTo>
                    <a:cubicBezTo>
                      <a:pt x="1239" y="118"/>
                      <a:pt x="1210" y="88"/>
                      <a:pt x="1174" y="88"/>
                    </a:cubicBezTo>
                    <a:cubicBezTo>
                      <a:pt x="670" y="88"/>
                      <a:pt x="670" y="88"/>
                      <a:pt x="670" y="88"/>
                    </a:cubicBezTo>
                    <a:cubicBezTo>
                      <a:pt x="634" y="88"/>
                      <a:pt x="605" y="118"/>
                      <a:pt x="605" y="154"/>
                    </a:cubicBezTo>
                    <a:cubicBezTo>
                      <a:pt x="605" y="329"/>
                      <a:pt x="605" y="329"/>
                      <a:pt x="605" y="329"/>
                    </a:cubicBezTo>
                    <a:lnTo>
                      <a:pt x="517" y="329"/>
                    </a:lnTo>
                    <a:close/>
                    <a:moveTo>
                      <a:pt x="1844" y="1541"/>
                    </a:moveTo>
                    <a:cubicBezTo>
                      <a:pt x="1844" y="413"/>
                      <a:pt x="1844" y="413"/>
                      <a:pt x="1844" y="413"/>
                    </a:cubicBezTo>
                    <a:cubicBezTo>
                      <a:pt x="1844" y="389"/>
                      <a:pt x="1824" y="369"/>
                      <a:pt x="1800" y="369"/>
                    </a:cubicBezTo>
                    <a:cubicBezTo>
                      <a:pt x="44" y="369"/>
                      <a:pt x="44" y="369"/>
                      <a:pt x="44" y="369"/>
                    </a:cubicBezTo>
                    <a:cubicBezTo>
                      <a:pt x="20" y="369"/>
                      <a:pt x="0" y="389"/>
                      <a:pt x="0" y="413"/>
                    </a:cubicBezTo>
                    <a:cubicBezTo>
                      <a:pt x="0" y="1541"/>
                      <a:pt x="0" y="1541"/>
                      <a:pt x="0" y="1541"/>
                    </a:cubicBezTo>
                    <a:cubicBezTo>
                      <a:pt x="0" y="1565"/>
                      <a:pt x="20" y="1585"/>
                      <a:pt x="44" y="1585"/>
                    </a:cubicBezTo>
                    <a:cubicBezTo>
                      <a:pt x="1800" y="1585"/>
                      <a:pt x="1800" y="1585"/>
                      <a:pt x="1800" y="1585"/>
                    </a:cubicBezTo>
                    <a:cubicBezTo>
                      <a:pt x="1824" y="1585"/>
                      <a:pt x="1844" y="1565"/>
                      <a:pt x="1844" y="1541"/>
                    </a:cubicBezTo>
                    <a:close/>
                    <a:moveTo>
                      <a:pt x="1800" y="413"/>
                    </a:moveTo>
                    <a:cubicBezTo>
                      <a:pt x="1800" y="1541"/>
                      <a:pt x="1800" y="1541"/>
                      <a:pt x="1800" y="1541"/>
                    </a:cubicBezTo>
                    <a:cubicBezTo>
                      <a:pt x="44" y="1541"/>
                      <a:pt x="44" y="1541"/>
                      <a:pt x="44" y="1541"/>
                    </a:cubicBezTo>
                    <a:cubicBezTo>
                      <a:pt x="44" y="413"/>
                      <a:pt x="44" y="413"/>
                      <a:pt x="44" y="413"/>
                    </a:cubicBezTo>
                    <a:lnTo>
                      <a:pt x="1800" y="413"/>
                    </a:lnTo>
                    <a:close/>
                    <a:moveTo>
                      <a:pt x="1031" y="892"/>
                    </a:moveTo>
                    <a:cubicBezTo>
                      <a:pt x="1031" y="1132"/>
                      <a:pt x="1031" y="1132"/>
                      <a:pt x="1031" y="1132"/>
                    </a:cubicBezTo>
                    <a:cubicBezTo>
                      <a:pt x="1031" y="1150"/>
                      <a:pt x="1016" y="1164"/>
                      <a:pt x="999" y="1164"/>
                    </a:cubicBezTo>
                    <a:cubicBezTo>
                      <a:pt x="845" y="1164"/>
                      <a:pt x="845" y="1164"/>
                      <a:pt x="845" y="1164"/>
                    </a:cubicBezTo>
                    <a:cubicBezTo>
                      <a:pt x="828" y="1164"/>
                      <a:pt x="813" y="1150"/>
                      <a:pt x="813" y="1132"/>
                    </a:cubicBezTo>
                    <a:cubicBezTo>
                      <a:pt x="813" y="892"/>
                      <a:pt x="813" y="892"/>
                      <a:pt x="813" y="892"/>
                    </a:cubicBezTo>
                    <a:cubicBezTo>
                      <a:pt x="813" y="875"/>
                      <a:pt x="828" y="860"/>
                      <a:pt x="845" y="860"/>
                    </a:cubicBezTo>
                    <a:cubicBezTo>
                      <a:pt x="999" y="860"/>
                      <a:pt x="999" y="860"/>
                      <a:pt x="999" y="860"/>
                    </a:cubicBezTo>
                    <a:cubicBezTo>
                      <a:pt x="1016" y="860"/>
                      <a:pt x="1031" y="875"/>
                      <a:pt x="1031" y="892"/>
                    </a:cubicBezTo>
                    <a:close/>
                    <a:moveTo>
                      <a:pt x="857" y="904"/>
                    </a:moveTo>
                    <a:cubicBezTo>
                      <a:pt x="857" y="1029"/>
                      <a:pt x="857" y="1029"/>
                      <a:pt x="857" y="1029"/>
                    </a:cubicBezTo>
                    <a:cubicBezTo>
                      <a:pt x="987" y="1029"/>
                      <a:pt x="987" y="1029"/>
                      <a:pt x="987" y="1029"/>
                    </a:cubicBezTo>
                    <a:cubicBezTo>
                      <a:pt x="987" y="904"/>
                      <a:pt x="987" y="904"/>
                      <a:pt x="987" y="904"/>
                    </a:cubicBezTo>
                    <a:lnTo>
                      <a:pt x="857" y="904"/>
                    </a:lnTo>
                    <a:close/>
                    <a:moveTo>
                      <a:pt x="987" y="1120"/>
                    </a:moveTo>
                    <a:cubicBezTo>
                      <a:pt x="987" y="1073"/>
                      <a:pt x="987" y="1073"/>
                      <a:pt x="987" y="1073"/>
                    </a:cubicBezTo>
                    <a:cubicBezTo>
                      <a:pt x="857" y="1073"/>
                      <a:pt x="857" y="1073"/>
                      <a:pt x="857" y="1073"/>
                    </a:cubicBezTo>
                    <a:cubicBezTo>
                      <a:pt x="857" y="1120"/>
                      <a:pt x="857" y="1120"/>
                      <a:pt x="857" y="1120"/>
                    </a:cubicBezTo>
                    <a:lnTo>
                      <a:pt x="987" y="1120"/>
                    </a:lnTo>
                    <a:close/>
                  </a:path>
                </a:pathLst>
              </a:custGeom>
              <a:solidFill>
                <a:srgbClr val="6E6F73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351" dirty="0">
                  <a:latin typeface="PT Sans Caption"/>
                  <a:cs typeface="+mn-cs"/>
                </a:endParaRPr>
              </a:p>
            </p:txBody>
          </p:sp>
        </p:grpSp>
      </p:grpSp>
      <p:sp>
        <p:nvSpPr>
          <p:cNvPr id="17" name="AutoShape 13">
            <a:extLst>
              <a:ext uri="{FF2B5EF4-FFF2-40B4-BE49-F238E27FC236}"/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5707063" y="1878013"/>
            <a:ext cx="777875" cy="779462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51" dirty="0">
              <a:latin typeface="PT Sans Caption"/>
              <a:cs typeface="+mn-cs"/>
            </a:endParaRPr>
          </a:p>
        </p:txBody>
      </p:sp>
      <p:grpSp>
        <p:nvGrpSpPr>
          <p:cNvPr id="71697" name="Group 17"/>
          <p:cNvGrpSpPr>
            <a:grpSpLocks/>
          </p:cNvGrpSpPr>
          <p:nvPr/>
        </p:nvGrpSpPr>
        <p:grpSpPr bwMode="auto">
          <a:xfrm>
            <a:off x="5791200" y="1971675"/>
            <a:ext cx="609600" cy="568325"/>
            <a:chOff x="5790964" y="1902017"/>
            <a:chExt cx="610614" cy="568921"/>
          </a:xfrm>
        </p:grpSpPr>
        <p:sp>
          <p:nvSpPr>
            <p:cNvPr id="19" name="Freeform 15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5935667" y="1902017"/>
              <a:ext cx="321208" cy="568921"/>
            </a:xfrm>
            <a:custGeom>
              <a:avLst/>
              <a:gdLst>
                <a:gd name="T0" fmla="*/ 928 w 946"/>
                <a:gd name="T1" fmla="*/ 647 h 1681"/>
                <a:gd name="T2" fmla="*/ 928 w 946"/>
                <a:gd name="T3" fmla="*/ 646 h 1681"/>
                <a:gd name="T4" fmla="*/ 874 w 946"/>
                <a:gd name="T5" fmla="*/ 722 h 1681"/>
                <a:gd name="T6" fmla="*/ 840 w 946"/>
                <a:gd name="T7" fmla="*/ 722 h 1681"/>
                <a:gd name="T8" fmla="*/ 835 w 946"/>
                <a:gd name="T9" fmla="*/ 366 h 1681"/>
                <a:gd name="T10" fmla="*/ 214 w 946"/>
                <a:gd name="T11" fmla="*/ 388 h 1681"/>
                <a:gd name="T12" fmla="*/ 98 w 946"/>
                <a:gd name="T13" fmla="*/ 716 h 1681"/>
                <a:gd name="T14" fmla="*/ 67 w 946"/>
                <a:gd name="T15" fmla="*/ 713 h 1681"/>
                <a:gd name="T16" fmla="*/ 20 w 946"/>
                <a:gd name="T17" fmla="*/ 653 h 1681"/>
                <a:gd name="T18" fmla="*/ 20 w 946"/>
                <a:gd name="T19" fmla="*/ 652 h 1681"/>
                <a:gd name="T20" fmla="*/ 1 w 946"/>
                <a:gd name="T21" fmla="*/ 483 h 1681"/>
                <a:gd name="T22" fmla="*/ 473 w 946"/>
                <a:gd name="T23" fmla="*/ 0 h 1681"/>
                <a:gd name="T24" fmla="*/ 945 w 946"/>
                <a:gd name="T25" fmla="*/ 483 h 1681"/>
                <a:gd name="T26" fmla="*/ 928 w 946"/>
                <a:gd name="T27" fmla="*/ 647 h 1681"/>
                <a:gd name="T28" fmla="*/ 583 w 946"/>
                <a:gd name="T29" fmla="*/ 1667 h 1681"/>
                <a:gd name="T30" fmla="*/ 514 w 946"/>
                <a:gd name="T31" fmla="*/ 1465 h 1681"/>
                <a:gd name="T32" fmla="*/ 515 w 946"/>
                <a:gd name="T33" fmla="*/ 1457 h 1681"/>
                <a:gd name="T34" fmla="*/ 579 w 946"/>
                <a:gd name="T35" fmla="*/ 1356 h 1681"/>
                <a:gd name="T36" fmla="*/ 573 w 946"/>
                <a:gd name="T37" fmla="*/ 1342 h 1681"/>
                <a:gd name="T38" fmla="*/ 476 w 946"/>
                <a:gd name="T39" fmla="*/ 1329 h 1681"/>
                <a:gd name="T40" fmla="*/ 374 w 946"/>
                <a:gd name="T41" fmla="*/ 1342 h 1681"/>
                <a:gd name="T42" fmla="*/ 368 w 946"/>
                <a:gd name="T43" fmla="*/ 1357 h 1681"/>
                <a:gd name="T44" fmla="*/ 432 w 946"/>
                <a:gd name="T45" fmla="*/ 1457 h 1681"/>
                <a:gd name="T46" fmla="*/ 433 w 946"/>
                <a:gd name="T47" fmla="*/ 1465 h 1681"/>
                <a:gd name="T48" fmla="*/ 358 w 946"/>
                <a:gd name="T49" fmla="*/ 1667 h 1681"/>
                <a:gd name="T50" fmla="*/ 368 w 946"/>
                <a:gd name="T51" fmla="*/ 1681 h 1681"/>
                <a:gd name="T52" fmla="*/ 574 w 946"/>
                <a:gd name="T53" fmla="*/ 1681 h 1681"/>
                <a:gd name="T54" fmla="*/ 583 w 946"/>
                <a:gd name="T55" fmla="*/ 1667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46" h="1681">
                  <a:moveTo>
                    <a:pt x="928" y="647"/>
                  </a:moveTo>
                  <a:cubicBezTo>
                    <a:pt x="928" y="647"/>
                    <a:pt x="928" y="647"/>
                    <a:pt x="928" y="646"/>
                  </a:cubicBezTo>
                  <a:cubicBezTo>
                    <a:pt x="926" y="647"/>
                    <a:pt x="919" y="672"/>
                    <a:pt x="874" y="722"/>
                  </a:cubicBezTo>
                  <a:cubicBezTo>
                    <a:pt x="874" y="722"/>
                    <a:pt x="874" y="722"/>
                    <a:pt x="840" y="722"/>
                  </a:cubicBezTo>
                  <a:cubicBezTo>
                    <a:pt x="840" y="722"/>
                    <a:pt x="840" y="704"/>
                    <a:pt x="835" y="366"/>
                  </a:cubicBezTo>
                  <a:cubicBezTo>
                    <a:pt x="782" y="637"/>
                    <a:pt x="214" y="388"/>
                    <a:pt x="214" y="388"/>
                  </a:cubicBezTo>
                  <a:cubicBezTo>
                    <a:pt x="73" y="431"/>
                    <a:pt x="98" y="716"/>
                    <a:pt x="98" y="716"/>
                  </a:cubicBezTo>
                  <a:cubicBezTo>
                    <a:pt x="98" y="716"/>
                    <a:pt x="98" y="716"/>
                    <a:pt x="67" y="713"/>
                  </a:cubicBezTo>
                  <a:cubicBezTo>
                    <a:pt x="67" y="713"/>
                    <a:pt x="67" y="695"/>
                    <a:pt x="20" y="653"/>
                  </a:cubicBezTo>
                  <a:cubicBezTo>
                    <a:pt x="20" y="653"/>
                    <a:pt x="20" y="652"/>
                    <a:pt x="20" y="652"/>
                  </a:cubicBezTo>
                  <a:cubicBezTo>
                    <a:pt x="0" y="600"/>
                    <a:pt x="1" y="543"/>
                    <a:pt x="1" y="483"/>
                  </a:cubicBezTo>
                  <a:cubicBezTo>
                    <a:pt x="1" y="216"/>
                    <a:pt x="206" y="0"/>
                    <a:pt x="473" y="0"/>
                  </a:cubicBezTo>
                  <a:cubicBezTo>
                    <a:pt x="740" y="0"/>
                    <a:pt x="945" y="216"/>
                    <a:pt x="945" y="483"/>
                  </a:cubicBezTo>
                  <a:cubicBezTo>
                    <a:pt x="945" y="541"/>
                    <a:pt x="946" y="596"/>
                    <a:pt x="928" y="647"/>
                  </a:cubicBezTo>
                  <a:close/>
                  <a:moveTo>
                    <a:pt x="583" y="1667"/>
                  </a:moveTo>
                  <a:cubicBezTo>
                    <a:pt x="514" y="1465"/>
                    <a:pt x="514" y="1465"/>
                    <a:pt x="514" y="1465"/>
                  </a:cubicBezTo>
                  <a:cubicBezTo>
                    <a:pt x="513" y="1462"/>
                    <a:pt x="514" y="1459"/>
                    <a:pt x="515" y="1457"/>
                  </a:cubicBezTo>
                  <a:cubicBezTo>
                    <a:pt x="579" y="1356"/>
                    <a:pt x="579" y="1356"/>
                    <a:pt x="579" y="1356"/>
                  </a:cubicBezTo>
                  <a:cubicBezTo>
                    <a:pt x="582" y="1351"/>
                    <a:pt x="579" y="1344"/>
                    <a:pt x="573" y="1342"/>
                  </a:cubicBezTo>
                  <a:cubicBezTo>
                    <a:pt x="552" y="1337"/>
                    <a:pt x="510" y="1329"/>
                    <a:pt x="476" y="1329"/>
                  </a:cubicBezTo>
                  <a:cubicBezTo>
                    <a:pt x="442" y="1329"/>
                    <a:pt x="396" y="1338"/>
                    <a:pt x="374" y="1342"/>
                  </a:cubicBezTo>
                  <a:cubicBezTo>
                    <a:pt x="368" y="1344"/>
                    <a:pt x="365" y="1351"/>
                    <a:pt x="368" y="1357"/>
                  </a:cubicBezTo>
                  <a:cubicBezTo>
                    <a:pt x="432" y="1457"/>
                    <a:pt x="432" y="1457"/>
                    <a:pt x="432" y="1457"/>
                  </a:cubicBezTo>
                  <a:cubicBezTo>
                    <a:pt x="433" y="1460"/>
                    <a:pt x="434" y="1463"/>
                    <a:pt x="433" y="1465"/>
                  </a:cubicBezTo>
                  <a:cubicBezTo>
                    <a:pt x="358" y="1667"/>
                    <a:pt x="358" y="1667"/>
                    <a:pt x="358" y="1667"/>
                  </a:cubicBezTo>
                  <a:cubicBezTo>
                    <a:pt x="356" y="1674"/>
                    <a:pt x="361" y="1681"/>
                    <a:pt x="368" y="1681"/>
                  </a:cubicBezTo>
                  <a:cubicBezTo>
                    <a:pt x="574" y="1681"/>
                    <a:pt x="574" y="1681"/>
                    <a:pt x="574" y="1681"/>
                  </a:cubicBezTo>
                  <a:cubicBezTo>
                    <a:pt x="581" y="1681"/>
                    <a:pt x="585" y="1674"/>
                    <a:pt x="583" y="1667"/>
                  </a:cubicBezTo>
                  <a:close/>
                </a:path>
              </a:pathLst>
            </a:custGeom>
            <a:solidFill>
              <a:srgbClr val="6E6F73"/>
            </a:solidFill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1" dirty="0">
                <a:latin typeface="PT Sans Caption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5790964" y="2145160"/>
              <a:ext cx="610614" cy="325778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02 w 1806"/>
                <a:gd name="T7" fmla="*/ 548 h 961"/>
                <a:gd name="T8" fmla="*/ 612 w 1806"/>
                <a:gd name="T9" fmla="*/ 555 h 961"/>
                <a:gd name="T10" fmla="*/ 703 w 1806"/>
                <a:gd name="T11" fmla="*/ 948 h 961"/>
                <a:gd name="T12" fmla="*/ 693 w 1806"/>
                <a:gd name="T13" fmla="*/ 961 h 961"/>
                <a:gd name="T14" fmla="*/ 26 w 1806"/>
                <a:gd name="T15" fmla="*/ 961 h 961"/>
                <a:gd name="T16" fmla="*/ 1780 w 1806"/>
                <a:gd name="T17" fmla="*/ 961 h 961"/>
                <a:gd name="T18" fmla="*/ 1801 w 1806"/>
                <a:gd name="T19" fmla="*/ 931 h 961"/>
                <a:gd name="T20" fmla="*/ 1583 w 1806"/>
                <a:gd name="T21" fmla="*/ 614 h 961"/>
                <a:gd name="T22" fmla="*/ 1204 w 1806"/>
                <a:gd name="T23" fmla="*/ 548 h 961"/>
                <a:gd name="T24" fmla="*/ 1194 w 1806"/>
                <a:gd name="T25" fmla="*/ 555 h 961"/>
                <a:gd name="T26" fmla="*/ 1103 w 1806"/>
                <a:gd name="T27" fmla="*/ 948 h 961"/>
                <a:gd name="T28" fmla="*/ 1113 w 1806"/>
                <a:gd name="T29" fmla="*/ 961 h 961"/>
                <a:gd name="T30" fmla="*/ 1780 w 1806"/>
                <a:gd name="T31" fmla="*/ 961 h 961"/>
                <a:gd name="T32" fmla="*/ 1329 w 1806"/>
                <a:gd name="T33" fmla="*/ 24 h 961"/>
                <a:gd name="T34" fmla="*/ 1283 w 1806"/>
                <a:gd name="T35" fmla="*/ 77 h 961"/>
                <a:gd name="T36" fmla="*/ 1273 w 1806"/>
                <a:gd name="T37" fmla="*/ 89 h 961"/>
                <a:gd name="T38" fmla="*/ 1129 w 1806"/>
                <a:gd name="T39" fmla="*/ 391 h 961"/>
                <a:gd name="T40" fmla="*/ 903 w 1806"/>
                <a:gd name="T41" fmla="*/ 504 h 961"/>
                <a:gd name="T42" fmla="*/ 677 w 1806"/>
                <a:gd name="T43" fmla="*/ 391 h 961"/>
                <a:gd name="T44" fmla="*/ 533 w 1806"/>
                <a:gd name="T45" fmla="*/ 89 h 961"/>
                <a:gd name="T46" fmla="*/ 523 w 1806"/>
                <a:gd name="T47" fmla="*/ 77 h 961"/>
                <a:gd name="T48" fmla="*/ 477 w 1806"/>
                <a:gd name="T49" fmla="*/ 24 h 961"/>
                <a:gd name="T50" fmla="*/ 426 w 1806"/>
                <a:gd name="T51" fmla="*/ 0 h 961"/>
                <a:gd name="T52" fmla="*/ 426 w 1806"/>
                <a:gd name="T53" fmla="*/ 5 h 961"/>
                <a:gd name="T54" fmla="*/ 495 w 1806"/>
                <a:gd name="T55" fmla="*/ 112 h 961"/>
                <a:gd name="T56" fmla="*/ 639 w 1806"/>
                <a:gd name="T57" fmla="*/ 414 h 961"/>
                <a:gd name="T58" fmla="*/ 639 w 1806"/>
                <a:gd name="T59" fmla="*/ 512 h 961"/>
                <a:gd name="T60" fmla="*/ 646 w 1806"/>
                <a:gd name="T61" fmla="*/ 522 h 961"/>
                <a:gd name="T62" fmla="*/ 683 w 1806"/>
                <a:gd name="T63" fmla="*/ 560 h 961"/>
                <a:gd name="T64" fmla="*/ 683 w 1806"/>
                <a:gd name="T65" fmla="*/ 451 h 961"/>
                <a:gd name="T66" fmla="*/ 903 w 1806"/>
                <a:gd name="T67" fmla="*/ 548 h 961"/>
                <a:gd name="T68" fmla="*/ 1123 w 1806"/>
                <a:gd name="T69" fmla="*/ 451 h 961"/>
                <a:gd name="T70" fmla="*/ 1123 w 1806"/>
                <a:gd name="T71" fmla="*/ 560 h 961"/>
                <a:gd name="T72" fmla="*/ 1160 w 1806"/>
                <a:gd name="T73" fmla="*/ 522 h 961"/>
                <a:gd name="T74" fmla="*/ 1167 w 1806"/>
                <a:gd name="T75" fmla="*/ 512 h 961"/>
                <a:gd name="T76" fmla="*/ 1167 w 1806"/>
                <a:gd name="T77" fmla="*/ 414 h 961"/>
                <a:gd name="T78" fmla="*/ 1311 w 1806"/>
                <a:gd name="T79" fmla="*/ 112 h 961"/>
                <a:gd name="T80" fmla="*/ 1380 w 1806"/>
                <a:gd name="T81" fmla="*/ 3 h 961"/>
                <a:gd name="T82" fmla="*/ 1380 w 1806"/>
                <a:gd name="T83" fmla="*/ 0 h 961"/>
                <a:gd name="T84" fmla="*/ 1329 w 1806"/>
                <a:gd name="T85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44" y="557"/>
                    <a:pt x="558" y="549"/>
                    <a:pt x="602" y="548"/>
                  </a:cubicBezTo>
                  <a:cubicBezTo>
                    <a:pt x="607" y="548"/>
                    <a:pt x="611" y="551"/>
                    <a:pt x="612" y="555"/>
                  </a:cubicBezTo>
                  <a:cubicBezTo>
                    <a:pt x="703" y="948"/>
                    <a:pt x="703" y="948"/>
                    <a:pt x="703" y="948"/>
                  </a:cubicBezTo>
                  <a:cubicBezTo>
                    <a:pt x="704" y="955"/>
                    <a:pt x="700" y="961"/>
                    <a:pt x="693" y="961"/>
                  </a:cubicBezTo>
                  <a:lnTo>
                    <a:pt x="26" y="961"/>
                  </a:lnTo>
                  <a:close/>
                  <a:moveTo>
                    <a:pt x="1780" y="961"/>
                  </a:moveTo>
                  <a:cubicBezTo>
                    <a:pt x="1796" y="961"/>
                    <a:pt x="1806" y="945"/>
                    <a:pt x="1801" y="931"/>
                  </a:cubicBezTo>
                  <a:cubicBezTo>
                    <a:pt x="1773" y="857"/>
                    <a:pt x="1693" y="664"/>
                    <a:pt x="1583" y="614"/>
                  </a:cubicBezTo>
                  <a:cubicBezTo>
                    <a:pt x="1462" y="557"/>
                    <a:pt x="1248" y="549"/>
                    <a:pt x="1204" y="548"/>
                  </a:cubicBezTo>
                  <a:cubicBezTo>
                    <a:pt x="1199" y="548"/>
                    <a:pt x="1195" y="551"/>
                    <a:pt x="1194" y="555"/>
                  </a:cubicBezTo>
                  <a:cubicBezTo>
                    <a:pt x="1103" y="948"/>
                    <a:pt x="1103" y="948"/>
                    <a:pt x="1103" y="948"/>
                  </a:cubicBezTo>
                  <a:cubicBezTo>
                    <a:pt x="1102" y="955"/>
                    <a:pt x="1106" y="961"/>
                    <a:pt x="1113" y="961"/>
                  </a:cubicBezTo>
                  <a:lnTo>
                    <a:pt x="1780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rgbClr val="6E6F73"/>
            </a:solidFill>
            <a:ln>
              <a:noFill/>
            </a:ln>
            <a:extLst>
              <a:ext uri="{91240B29-F687-4F45-9708-019B960494DF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1" dirty="0">
                <a:latin typeface="PT Sans Caption"/>
                <a:cs typeface="+mn-cs"/>
              </a:endParaRPr>
            </a:p>
          </p:txBody>
        </p:sp>
      </p:grpSp>
      <p:grpSp>
        <p:nvGrpSpPr>
          <p:cNvPr id="71698" name="Group 31"/>
          <p:cNvGrpSpPr>
            <a:grpSpLocks/>
          </p:cNvGrpSpPr>
          <p:nvPr/>
        </p:nvGrpSpPr>
        <p:grpSpPr bwMode="auto">
          <a:xfrm>
            <a:off x="7083425" y="3727450"/>
            <a:ext cx="1189038" cy="1189038"/>
            <a:chOff x="7034257" y="3936488"/>
            <a:chExt cx="1189035" cy="1188573"/>
          </a:xfrm>
        </p:grpSpPr>
        <p:sp>
          <p:nvSpPr>
            <p:cNvPr id="12" name="Oval 11"/>
            <p:cNvSpPr>
              <a:spLocks noChangeAspect="1"/>
            </p:cNvSpPr>
            <p:nvPr/>
          </p:nvSpPr>
          <p:spPr>
            <a:xfrm>
              <a:off x="7034257" y="3936488"/>
              <a:ext cx="1189035" cy="1188573"/>
            </a:xfrm>
            <a:prstGeom prst="ellipse">
              <a:avLst/>
            </a:prstGeom>
            <a:solidFill>
              <a:schemeClr val="bg1"/>
            </a:solidFill>
            <a:ln w="38100" cap="flat" cmpd="sng" algn="ctr">
              <a:gradFill flip="none" rotWithShape="1">
                <a:gsLst>
                  <a:gs pos="35000">
                    <a:srgbClr val="595959"/>
                  </a:gs>
                  <a:gs pos="100000">
                    <a:srgbClr val="F6F42E"/>
                  </a:gs>
                </a:gsLst>
                <a:lin ang="27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kern="0" dirty="0">
                <a:solidFill>
                  <a:srgbClr val="595959"/>
                </a:solidFill>
              </a:endParaRPr>
            </a:p>
          </p:txBody>
        </p:sp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7239044" y="4141196"/>
              <a:ext cx="779460" cy="779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1" dirty="0">
                <a:latin typeface="PT Sans Caption"/>
                <a:cs typeface="+mn-cs"/>
              </a:endParaRPr>
            </a:p>
          </p:txBody>
        </p:sp>
        <p:grpSp>
          <p:nvGrpSpPr>
            <p:cNvPr id="71718" name="Group 21"/>
            <p:cNvGrpSpPr>
              <a:grpSpLocks/>
            </p:cNvGrpSpPr>
            <p:nvPr/>
          </p:nvGrpSpPr>
          <p:grpSpPr bwMode="auto">
            <a:xfrm>
              <a:off x="7294447" y="4237108"/>
              <a:ext cx="668655" cy="587512"/>
              <a:chOff x="5389626" y="2809113"/>
              <a:chExt cx="1412748" cy="1240155"/>
            </a:xfrm>
          </p:grpSpPr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5547605" y="2807636"/>
                <a:ext cx="1093434" cy="1075245"/>
              </a:xfrm>
              <a:custGeom>
                <a:avLst/>
                <a:gdLst>
                  <a:gd name="connsiteX0" fmla="*/ 4247806 w 4560888"/>
                  <a:gd name="connsiteY0" fmla="*/ 3752848 h 4476748"/>
                  <a:gd name="connsiteX1" fmla="*/ 4531071 w 4560888"/>
                  <a:gd name="connsiteY1" fmla="*/ 3752848 h 4476748"/>
                  <a:gd name="connsiteX2" fmla="*/ 4560888 w 4560888"/>
                  <a:gd name="connsiteY2" fmla="*/ 3782666 h 4476748"/>
                  <a:gd name="connsiteX3" fmla="*/ 4560888 w 4560888"/>
                  <a:gd name="connsiteY3" fmla="*/ 4065931 h 4476748"/>
                  <a:gd name="connsiteX4" fmla="*/ 4531071 w 4560888"/>
                  <a:gd name="connsiteY4" fmla="*/ 4095748 h 4476748"/>
                  <a:gd name="connsiteX5" fmla="*/ 4247806 w 4560888"/>
                  <a:gd name="connsiteY5" fmla="*/ 4095748 h 4476748"/>
                  <a:gd name="connsiteX6" fmla="*/ 4217988 w 4560888"/>
                  <a:gd name="connsiteY6" fmla="*/ 4065931 h 4476748"/>
                  <a:gd name="connsiteX7" fmla="*/ 4217988 w 4560888"/>
                  <a:gd name="connsiteY7" fmla="*/ 3782666 h 4476748"/>
                  <a:gd name="connsiteX8" fmla="*/ 4247806 w 4560888"/>
                  <a:gd name="connsiteY8" fmla="*/ 3752848 h 4476748"/>
                  <a:gd name="connsiteX9" fmla="*/ 3757130 w 4560888"/>
                  <a:gd name="connsiteY9" fmla="*/ 3752848 h 4476748"/>
                  <a:gd name="connsiteX10" fmla="*/ 4039084 w 4560888"/>
                  <a:gd name="connsiteY10" fmla="*/ 3752848 h 4476748"/>
                  <a:gd name="connsiteX11" fmla="*/ 4068763 w 4560888"/>
                  <a:gd name="connsiteY11" fmla="*/ 3782666 h 4476748"/>
                  <a:gd name="connsiteX12" fmla="*/ 4068763 w 4560888"/>
                  <a:gd name="connsiteY12" fmla="*/ 4065931 h 4476748"/>
                  <a:gd name="connsiteX13" fmla="*/ 4039084 w 4560888"/>
                  <a:gd name="connsiteY13" fmla="*/ 4095748 h 4476748"/>
                  <a:gd name="connsiteX14" fmla="*/ 3757130 w 4560888"/>
                  <a:gd name="connsiteY14" fmla="*/ 4095748 h 4476748"/>
                  <a:gd name="connsiteX15" fmla="*/ 3727450 w 4560888"/>
                  <a:gd name="connsiteY15" fmla="*/ 4065931 h 4476748"/>
                  <a:gd name="connsiteX16" fmla="*/ 3727450 w 4560888"/>
                  <a:gd name="connsiteY16" fmla="*/ 3782666 h 4476748"/>
                  <a:gd name="connsiteX17" fmla="*/ 3757130 w 4560888"/>
                  <a:gd name="connsiteY17" fmla="*/ 3752848 h 4476748"/>
                  <a:gd name="connsiteX18" fmla="*/ 3261968 w 4560888"/>
                  <a:gd name="connsiteY18" fmla="*/ 3752848 h 4476748"/>
                  <a:gd name="connsiteX19" fmla="*/ 3545233 w 4560888"/>
                  <a:gd name="connsiteY19" fmla="*/ 3752848 h 4476748"/>
                  <a:gd name="connsiteX20" fmla="*/ 3575050 w 4560888"/>
                  <a:gd name="connsiteY20" fmla="*/ 3782666 h 4476748"/>
                  <a:gd name="connsiteX21" fmla="*/ 3575050 w 4560888"/>
                  <a:gd name="connsiteY21" fmla="*/ 4065931 h 4476748"/>
                  <a:gd name="connsiteX22" fmla="*/ 3545233 w 4560888"/>
                  <a:gd name="connsiteY22" fmla="*/ 4095748 h 4476748"/>
                  <a:gd name="connsiteX23" fmla="*/ 3261968 w 4560888"/>
                  <a:gd name="connsiteY23" fmla="*/ 4095748 h 4476748"/>
                  <a:gd name="connsiteX24" fmla="*/ 3232150 w 4560888"/>
                  <a:gd name="connsiteY24" fmla="*/ 4065931 h 4476748"/>
                  <a:gd name="connsiteX25" fmla="*/ 3232150 w 4560888"/>
                  <a:gd name="connsiteY25" fmla="*/ 3782666 h 4476748"/>
                  <a:gd name="connsiteX26" fmla="*/ 3261968 w 4560888"/>
                  <a:gd name="connsiteY26" fmla="*/ 3752848 h 4476748"/>
                  <a:gd name="connsiteX27" fmla="*/ 1015517 w 4560888"/>
                  <a:gd name="connsiteY27" fmla="*/ 3752848 h 4476748"/>
                  <a:gd name="connsiteX28" fmla="*/ 1297471 w 4560888"/>
                  <a:gd name="connsiteY28" fmla="*/ 3752848 h 4476748"/>
                  <a:gd name="connsiteX29" fmla="*/ 1327151 w 4560888"/>
                  <a:gd name="connsiteY29" fmla="*/ 3782666 h 4476748"/>
                  <a:gd name="connsiteX30" fmla="*/ 1327151 w 4560888"/>
                  <a:gd name="connsiteY30" fmla="*/ 4065931 h 4476748"/>
                  <a:gd name="connsiteX31" fmla="*/ 1297471 w 4560888"/>
                  <a:gd name="connsiteY31" fmla="*/ 4095748 h 4476748"/>
                  <a:gd name="connsiteX32" fmla="*/ 1015517 w 4560888"/>
                  <a:gd name="connsiteY32" fmla="*/ 4095748 h 4476748"/>
                  <a:gd name="connsiteX33" fmla="*/ 985838 w 4560888"/>
                  <a:gd name="connsiteY33" fmla="*/ 4065931 h 4476748"/>
                  <a:gd name="connsiteX34" fmla="*/ 985838 w 4560888"/>
                  <a:gd name="connsiteY34" fmla="*/ 3782666 h 4476748"/>
                  <a:gd name="connsiteX35" fmla="*/ 1015517 w 4560888"/>
                  <a:gd name="connsiteY35" fmla="*/ 3752848 h 4476748"/>
                  <a:gd name="connsiteX36" fmla="*/ 523547 w 4560888"/>
                  <a:gd name="connsiteY36" fmla="*/ 3752848 h 4476748"/>
                  <a:gd name="connsiteX37" fmla="*/ 809954 w 4560888"/>
                  <a:gd name="connsiteY37" fmla="*/ 3752848 h 4476748"/>
                  <a:gd name="connsiteX38" fmla="*/ 839788 w 4560888"/>
                  <a:gd name="connsiteY38" fmla="*/ 3782666 h 4476748"/>
                  <a:gd name="connsiteX39" fmla="*/ 839788 w 4560888"/>
                  <a:gd name="connsiteY39" fmla="*/ 4065931 h 4476748"/>
                  <a:gd name="connsiteX40" fmla="*/ 809954 w 4560888"/>
                  <a:gd name="connsiteY40" fmla="*/ 4095748 h 4476748"/>
                  <a:gd name="connsiteX41" fmla="*/ 523547 w 4560888"/>
                  <a:gd name="connsiteY41" fmla="*/ 4095748 h 4476748"/>
                  <a:gd name="connsiteX42" fmla="*/ 493713 w 4560888"/>
                  <a:gd name="connsiteY42" fmla="*/ 4065931 h 4476748"/>
                  <a:gd name="connsiteX43" fmla="*/ 493713 w 4560888"/>
                  <a:gd name="connsiteY43" fmla="*/ 3782666 h 4476748"/>
                  <a:gd name="connsiteX44" fmla="*/ 523547 w 4560888"/>
                  <a:gd name="connsiteY44" fmla="*/ 3752848 h 4476748"/>
                  <a:gd name="connsiteX45" fmla="*/ 29817 w 4560888"/>
                  <a:gd name="connsiteY45" fmla="*/ 3752848 h 4476748"/>
                  <a:gd name="connsiteX46" fmla="*/ 313082 w 4560888"/>
                  <a:gd name="connsiteY46" fmla="*/ 3752848 h 4476748"/>
                  <a:gd name="connsiteX47" fmla="*/ 342900 w 4560888"/>
                  <a:gd name="connsiteY47" fmla="*/ 3782666 h 4476748"/>
                  <a:gd name="connsiteX48" fmla="*/ 342900 w 4560888"/>
                  <a:gd name="connsiteY48" fmla="*/ 4065931 h 4476748"/>
                  <a:gd name="connsiteX49" fmla="*/ 313082 w 4560888"/>
                  <a:gd name="connsiteY49" fmla="*/ 4095748 h 4476748"/>
                  <a:gd name="connsiteX50" fmla="*/ 29817 w 4560888"/>
                  <a:gd name="connsiteY50" fmla="*/ 4095748 h 4476748"/>
                  <a:gd name="connsiteX51" fmla="*/ 0 w 4560888"/>
                  <a:gd name="connsiteY51" fmla="*/ 4065931 h 4476748"/>
                  <a:gd name="connsiteX52" fmla="*/ 0 w 4560888"/>
                  <a:gd name="connsiteY52" fmla="*/ 3782666 h 4476748"/>
                  <a:gd name="connsiteX53" fmla="*/ 29817 w 4560888"/>
                  <a:gd name="connsiteY53" fmla="*/ 3752848 h 4476748"/>
                  <a:gd name="connsiteX54" fmla="*/ 4247806 w 4560888"/>
                  <a:gd name="connsiteY54" fmla="*/ 3267073 h 4476748"/>
                  <a:gd name="connsiteX55" fmla="*/ 4531071 w 4560888"/>
                  <a:gd name="connsiteY55" fmla="*/ 3267073 h 4476748"/>
                  <a:gd name="connsiteX56" fmla="*/ 4560888 w 4560888"/>
                  <a:gd name="connsiteY56" fmla="*/ 3296907 h 4476748"/>
                  <a:gd name="connsiteX57" fmla="*/ 4560888 w 4560888"/>
                  <a:gd name="connsiteY57" fmla="*/ 3583314 h 4476748"/>
                  <a:gd name="connsiteX58" fmla="*/ 4531071 w 4560888"/>
                  <a:gd name="connsiteY58" fmla="*/ 3613148 h 4476748"/>
                  <a:gd name="connsiteX59" fmla="*/ 4247806 w 4560888"/>
                  <a:gd name="connsiteY59" fmla="*/ 3613148 h 4476748"/>
                  <a:gd name="connsiteX60" fmla="*/ 4217988 w 4560888"/>
                  <a:gd name="connsiteY60" fmla="*/ 3583314 h 4476748"/>
                  <a:gd name="connsiteX61" fmla="*/ 4217988 w 4560888"/>
                  <a:gd name="connsiteY61" fmla="*/ 3296907 h 4476748"/>
                  <a:gd name="connsiteX62" fmla="*/ 4247806 w 4560888"/>
                  <a:gd name="connsiteY62" fmla="*/ 3267073 h 4476748"/>
                  <a:gd name="connsiteX63" fmla="*/ 3757130 w 4560888"/>
                  <a:gd name="connsiteY63" fmla="*/ 3267073 h 4476748"/>
                  <a:gd name="connsiteX64" fmla="*/ 4039084 w 4560888"/>
                  <a:gd name="connsiteY64" fmla="*/ 3267073 h 4476748"/>
                  <a:gd name="connsiteX65" fmla="*/ 4068763 w 4560888"/>
                  <a:gd name="connsiteY65" fmla="*/ 3296907 h 4476748"/>
                  <a:gd name="connsiteX66" fmla="*/ 4068763 w 4560888"/>
                  <a:gd name="connsiteY66" fmla="*/ 3583314 h 4476748"/>
                  <a:gd name="connsiteX67" fmla="*/ 4039084 w 4560888"/>
                  <a:gd name="connsiteY67" fmla="*/ 3613148 h 4476748"/>
                  <a:gd name="connsiteX68" fmla="*/ 3757130 w 4560888"/>
                  <a:gd name="connsiteY68" fmla="*/ 3613148 h 4476748"/>
                  <a:gd name="connsiteX69" fmla="*/ 3727450 w 4560888"/>
                  <a:gd name="connsiteY69" fmla="*/ 3583314 h 4476748"/>
                  <a:gd name="connsiteX70" fmla="*/ 3727450 w 4560888"/>
                  <a:gd name="connsiteY70" fmla="*/ 3296907 h 4476748"/>
                  <a:gd name="connsiteX71" fmla="*/ 3757130 w 4560888"/>
                  <a:gd name="connsiteY71" fmla="*/ 3267073 h 4476748"/>
                  <a:gd name="connsiteX72" fmla="*/ 3261968 w 4560888"/>
                  <a:gd name="connsiteY72" fmla="*/ 3267073 h 4476748"/>
                  <a:gd name="connsiteX73" fmla="*/ 3545233 w 4560888"/>
                  <a:gd name="connsiteY73" fmla="*/ 3267073 h 4476748"/>
                  <a:gd name="connsiteX74" fmla="*/ 3575050 w 4560888"/>
                  <a:gd name="connsiteY74" fmla="*/ 3296907 h 4476748"/>
                  <a:gd name="connsiteX75" fmla="*/ 3575050 w 4560888"/>
                  <a:gd name="connsiteY75" fmla="*/ 3583314 h 4476748"/>
                  <a:gd name="connsiteX76" fmla="*/ 3545233 w 4560888"/>
                  <a:gd name="connsiteY76" fmla="*/ 3613148 h 4476748"/>
                  <a:gd name="connsiteX77" fmla="*/ 3261968 w 4560888"/>
                  <a:gd name="connsiteY77" fmla="*/ 3613148 h 4476748"/>
                  <a:gd name="connsiteX78" fmla="*/ 3232150 w 4560888"/>
                  <a:gd name="connsiteY78" fmla="*/ 3583314 h 4476748"/>
                  <a:gd name="connsiteX79" fmla="*/ 3232150 w 4560888"/>
                  <a:gd name="connsiteY79" fmla="*/ 3296907 h 4476748"/>
                  <a:gd name="connsiteX80" fmla="*/ 3261968 w 4560888"/>
                  <a:gd name="connsiteY80" fmla="*/ 3267073 h 4476748"/>
                  <a:gd name="connsiteX81" fmla="*/ 1015517 w 4560888"/>
                  <a:gd name="connsiteY81" fmla="*/ 3267073 h 4476748"/>
                  <a:gd name="connsiteX82" fmla="*/ 1297471 w 4560888"/>
                  <a:gd name="connsiteY82" fmla="*/ 3267073 h 4476748"/>
                  <a:gd name="connsiteX83" fmla="*/ 1327151 w 4560888"/>
                  <a:gd name="connsiteY83" fmla="*/ 3296907 h 4476748"/>
                  <a:gd name="connsiteX84" fmla="*/ 1327151 w 4560888"/>
                  <a:gd name="connsiteY84" fmla="*/ 3583314 h 4476748"/>
                  <a:gd name="connsiteX85" fmla="*/ 1297471 w 4560888"/>
                  <a:gd name="connsiteY85" fmla="*/ 3613148 h 4476748"/>
                  <a:gd name="connsiteX86" fmla="*/ 1015517 w 4560888"/>
                  <a:gd name="connsiteY86" fmla="*/ 3613148 h 4476748"/>
                  <a:gd name="connsiteX87" fmla="*/ 985838 w 4560888"/>
                  <a:gd name="connsiteY87" fmla="*/ 3583314 h 4476748"/>
                  <a:gd name="connsiteX88" fmla="*/ 985838 w 4560888"/>
                  <a:gd name="connsiteY88" fmla="*/ 3296907 h 4476748"/>
                  <a:gd name="connsiteX89" fmla="*/ 1015517 w 4560888"/>
                  <a:gd name="connsiteY89" fmla="*/ 3267073 h 4476748"/>
                  <a:gd name="connsiteX90" fmla="*/ 523547 w 4560888"/>
                  <a:gd name="connsiteY90" fmla="*/ 3267073 h 4476748"/>
                  <a:gd name="connsiteX91" fmla="*/ 809954 w 4560888"/>
                  <a:gd name="connsiteY91" fmla="*/ 3267073 h 4476748"/>
                  <a:gd name="connsiteX92" fmla="*/ 839788 w 4560888"/>
                  <a:gd name="connsiteY92" fmla="*/ 3296907 h 4476748"/>
                  <a:gd name="connsiteX93" fmla="*/ 839788 w 4560888"/>
                  <a:gd name="connsiteY93" fmla="*/ 3583314 h 4476748"/>
                  <a:gd name="connsiteX94" fmla="*/ 809954 w 4560888"/>
                  <a:gd name="connsiteY94" fmla="*/ 3613148 h 4476748"/>
                  <a:gd name="connsiteX95" fmla="*/ 523547 w 4560888"/>
                  <a:gd name="connsiteY95" fmla="*/ 3613148 h 4476748"/>
                  <a:gd name="connsiteX96" fmla="*/ 493713 w 4560888"/>
                  <a:gd name="connsiteY96" fmla="*/ 3583314 h 4476748"/>
                  <a:gd name="connsiteX97" fmla="*/ 493713 w 4560888"/>
                  <a:gd name="connsiteY97" fmla="*/ 3296907 h 4476748"/>
                  <a:gd name="connsiteX98" fmla="*/ 523547 w 4560888"/>
                  <a:gd name="connsiteY98" fmla="*/ 3267073 h 4476748"/>
                  <a:gd name="connsiteX99" fmla="*/ 29817 w 4560888"/>
                  <a:gd name="connsiteY99" fmla="*/ 3267073 h 4476748"/>
                  <a:gd name="connsiteX100" fmla="*/ 313082 w 4560888"/>
                  <a:gd name="connsiteY100" fmla="*/ 3267073 h 4476748"/>
                  <a:gd name="connsiteX101" fmla="*/ 342900 w 4560888"/>
                  <a:gd name="connsiteY101" fmla="*/ 3296907 h 4476748"/>
                  <a:gd name="connsiteX102" fmla="*/ 342900 w 4560888"/>
                  <a:gd name="connsiteY102" fmla="*/ 3583314 h 4476748"/>
                  <a:gd name="connsiteX103" fmla="*/ 313082 w 4560888"/>
                  <a:gd name="connsiteY103" fmla="*/ 3613148 h 4476748"/>
                  <a:gd name="connsiteX104" fmla="*/ 29817 w 4560888"/>
                  <a:gd name="connsiteY104" fmla="*/ 3613148 h 4476748"/>
                  <a:gd name="connsiteX105" fmla="*/ 0 w 4560888"/>
                  <a:gd name="connsiteY105" fmla="*/ 3583314 h 4476748"/>
                  <a:gd name="connsiteX106" fmla="*/ 0 w 4560888"/>
                  <a:gd name="connsiteY106" fmla="*/ 3296907 h 4476748"/>
                  <a:gd name="connsiteX107" fmla="*/ 29817 w 4560888"/>
                  <a:gd name="connsiteY107" fmla="*/ 3267073 h 4476748"/>
                  <a:gd name="connsiteX108" fmla="*/ 2286000 w 4560888"/>
                  <a:gd name="connsiteY108" fmla="*/ 3255960 h 4476748"/>
                  <a:gd name="connsiteX109" fmla="*/ 2705100 w 4560888"/>
                  <a:gd name="connsiteY109" fmla="*/ 3532871 h 4476748"/>
                  <a:gd name="connsiteX110" fmla="*/ 2705100 w 4560888"/>
                  <a:gd name="connsiteY110" fmla="*/ 4476748 h 4476748"/>
                  <a:gd name="connsiteX111" fmla="*/ 1866900 w 4560888"/>
                  <a:gd name="connsiteY111" fmla="*/ 4476748 h 4476748"/>
                  <a:gd name="connsiteX112" fmla="*/ 1866900 w 4560888"/>
                  <a:gd name="connsiteY112" fmla="*/ 3532871 h 4476748"/>
                  <a:gd name="connsiteX113" fmla="*/ 2286000 w 4560888"/>
                  <a:gd name="connsiteY113" fmla="*/ 3255960 h 4476748"/>
                  <a:gd name="connsiteX114" fmla="*/ 3757130 w 4560888"/>
                  <a:gd name="connsiteY114" fmla="*/ 2633660 h 4476748"/>
                  <a:gd name="connsiteX115" fmla="*/ 4039084 w 4560888"/>
                  <a:gd name="connsiteY115" fmla="*/ 2633660 h 4476748"/>
                  <a:gd name="connsiteX116" fmla="*/ 4068763 w 4560888"/>
                  <a:gd name="connsiteY116" fmla="*/ 2663443 h 4476748"/>
                  <a:gd name="connsiteX117" fmla="*/ 4068763 w 4560888"/>
                  <a:gd name="connsiteY117" fmla="*/ 2940427 h 4476748"/>
                  <a:gd name="connsiteX118" fmla="*/ 4039084 w 4560888"/>
                  <a:gd name="connsiteY118" fmla="*/ 2970210 h 4476748"/>
                  <a:gd name="connsiteX119" fmla="*/ 3757130 w 4560888"/>
                  <a:gd name="connsiteY119" fmla="*/ 2970210 h 4476748"/>
                  <a:gd name="connsiteX120" fmla="*/ 3727450 w 4560888"/>
                  <a:gd name="connsiteY120" fmla="*/ 2940427 h 4476748"/>
                  <a:gd name="connsiteX121" fmla="*/ 3727450 w 4560888"/>
                  <a:gd name="connsiteY121" fmla="*/ 2663443 h 4476748"/>
                  <a:gd name="connsiteX122" fmla="*/ 3757130 w 4560888"/>
                  <a:gd name="connsiteY122" fmla="*/ 2633660 h 4476748"/>
                  <a:gd name="connsiteX123" fmla="*/ 3274530 w 4560888"/>
                  <a:gd name="connsiteY123" fmla="*/ 2633660 h 4476748"/>
                  <a:gd name="connsiteX124" fmla="*/ 3556484 w 4560888"/>
                  <a:gd name="connsiteY124" fmla="*/ 2633660 h 4476748"/>
                  <a:gd name="connsiteX125" fmla="*/ 3586163 w 4560888"/>
                  <a:gd name="connsiteY125" fmla="*/ 2663443 h 4476748"/>
                  <a:gd name="connsiteX126" fmla="*/ 3586163 w 4560888"/>
                  <a:gd name="connsiteY126" fmla="*/ 2940427 h 4476748"/>
                  <a:gd name="connsiteX127" fmla="*/ 3556484 w 4560888"/>
                  <a:gd name="connsiteY127" fmla="*/ 2970210 h 4476748"/>
                  <a:gd name="connsiteX128" fmla="*/ 3274530 w 4560888"/>
                  <a:gd name="connsiteY128" fmla="*/ 2970210 h 4476748"/>
                  <a:gd name="connsiteX129" fmla="*/ 3244850 w 4560888"/>
                  <a:gd name="connsiteY129" fmla="*/ 2940427 h 4476748"/>
                  <a:gd name="connsiteX130" fmla="*/ 3244850 w 4560888"/>
                  <a:gd name="connsiteY130" fmla="*/ 2663443 h 4476748"/>
                  <a:gd name="connsiteX131" fmla="*/ 3274530 w 4560888"/>
                  <a:gd name="connsiteY131" fmla="*/ 2633660 h 4476748"/>
                  <a:gd name="connsiteX132" fmla="*/ 2774468 w 4560888"/>
                  <a:gd name="connsiteY132" fmla="*/ 2633660 h 4476748"/>
                  <a:gd name="connsiteX133" fmla="*/ 3056422 w 4560888"/>
                  <a:gd name="connsiteY133" fmla="*/ 2633660 h 4476748"/>
                  <a:gd name="connsiteX134" fmla="*/ 3086101 w 4560888"/>
                  <a:gd name="connsiteY134" fmla="*/ 2663443 h 4476748"/>
                  <a:gd name="connsiteX135" fmla="*/ 3086101 w 4560888"/>
                  <a:gd name="connsiteY135" fmla="*/ 2940427 h 4476748"/>
                  <a:gd name="connsiteX136" fmla="*/ 3056422 w 4560888"/>
                  <a:gd name="connsiteY136" fmla="*/ 2970210 h 4476748"/>
                  <a:gd name="connsiteX137" fmla="*/ 2774468 w 4560888"/>
                  <a:gd name="connsiteY137" fmla="*/ 2970210 h 4476748"/>
                  <a:gd name="connsiteX138" fmla="*/ 2744788 w 4560888"/>
                  <a:gd name="connsiteY138" fmla="*/ 2940427 h 4476748"/>
                  <a:gd name="connsiteX139" fmla="*/ 2744788 w 4560888"/>
                  <a:gd name="connsiteY139" fmla="*/ 2663443 h 4476748"/>
                  <a:gd name="connsiteX140" fmla="*/ 2774468 w 4560888"/>
                  <a:gd name="connsiteY140" fmla="*/ 2633660 h 4476748"/>
                  <a:gd name="connsiteX141" fmla="*/ 1526847 w 4560888"/>
                  <a:gd name="connsiteY141" fmla="*/ 2633660 h 4476748"/>
                  <a:gd name="connsiteX142" fmla="*/ 1813254 w 4560888"/>
                  <a:gd name="connsiteY142" fmla="*/ 2633660 h 4476748"/>
                  <a:gd name="connsiteX143" fmla="*/ 1843088 w 4560888"/>
                  <a:gd name="connsiteY143" fmla="*/ 2663443 h 4476748"/>
                  <a:gd name="connsiteX144" fmla="*/ 1843088 w 4560888"/>
                  <a:gd name="connsiteY144" fmla="*/ 2940427 h 4476748"/>
                  <a:gd name="connsiteX145" fmla="*/ 1813254 w 4560888"/>
                  <a:gd name="connsiteY145" fmla="*/ 2970210 h 4476748"/>
                  <a:gd name="connsiteX146" fmla="*/ 1526847 w 4560888"/>
                  <a:gd name="connsiteY146" fmla="*/ 2970210 h 4476748"/>
                  <a:gd name="connsiteX147" fmla="*/ 1497013 w 4560888"/>
                  <a:gd name="connsiteY147" fmla="*/ 2940427 h 4476748"/>
                  <a:gd name="connsiteX148" fmla="*/ 1497013 w 4560888"/>
                  <a:gd name="connsiteY148" fmla="*/ 2663443 h 4476748"/>
                  <a:gd name="connsiteX149" fmla="*/ 1526847 w 4560888"/>
                  <a:gd name="connsiteY149" fmla="*/ 2633660 h 4476748"/>
                  <a:gd name="connsiteX150" fmla="*/ 1039329 w 4560888"/>
                  <a:gd name="connsiteY150" fmla="*/ 2633660 h 4476748"/>
                  <a:gd name="connsiteX151" fmla="*/ 1321283 w 4560888"/>
                  <a:gd name="connsiteY151" fmla="*/ 2633660 h 4476748"/>
                  <a:gd name="connsiteX152" fmla="*/ 1350963 w 4560888"/>
                  <a:gd name="connsiteY152" fmla="*/ 2663443 h 4476748"/>
                  <a:gd name="connsiteX153" fmla="*/ 1350963 w 4560888"/>
                  <a:gd name="connsiteY153" fmla="*/ 2940427 h 4476748"/>
                  <a:gd name="connsiteX154" fmla="*/ 1321283 w 4560888"/>
                  <a:gd name="connsiteY154" fmla="*/ 2970210 h 4476748"/>
                  <a:gd name="connsiteX155" fmla="*/ 1039329 w 4560888"/>
                  <a:gd name="connsiteY155" fmla="*/ 2970210 h 4476748"/>
                  <a:gd name="connsiteX156" fmla="*/ 1009650 w 4560888"/>
                  <a:gd name="connsiteY156" fmla="*/ 2940427 h 4476748"/>
                  <a:gd name="connsiteX157" fmla="*/ 1009650 w 4560888"/>
                  <a:gd name="connsiteY157" fmla="*/ 2663443 h 4476748"/>
                  <a:gd name="connsiteX158" fmla="*/ 1039329 w 4560888"/>
                  <a:gd name="connsiteY158" fmla="*/ 2633660 h 4476748"/>
                  <a:gd name="connsiteX159" fmla="*/ 544167 w 4560888"/>
                  <a:gd name="connsiteY159" fmla="*/ 2633660 h 4476748"/>
                  <a:gd name="connsiteX160" fmla="*/ 827432 w 4560888"/>
                  <a:gd name="connsiteY160" fmla="*/ 2633660 h 4476748"/>
                  <a:gd name="connsiteX161" fmla="*/ 857250 w 4560888"/>
                  <a:gd name="connsiteY161" fmla="*/ 2663443 h 4476748"/>
                  <a:gd name="connsiteX162" fmla="*/ 857250 w 4560888"/>
                  <a:gd name="connsiteY162" fmla="*/ 2940427 h 4476748"/>
                  <a:gd name="connsiteX163" fmla="*/ 827432 w 4560888"/>
                  <a:gd name="connsiteY163" fmla="*/ 2970210 h 4476748"/>
                  <a:gd name="connsiteX164" fmla="*/ 544167 w 4560888"/>
                  <a:gd name="connsiteY164" fmla="*/ 2970210 h 4476748"/>
                  <a:gd name="connsiteX165" fmla="*/ 514350 w 4560888"/>
                  <a:gd name="connsiteY165" fmla="*/ 2940427 h 4476748"/>
                  <a:gd name="connsiteX166" fmla="*/ 514350 w 4560888"/>
                  <a:gd name="connsiteY166" fmla="*/ 2663443 h 4476748"/>
                  <a:gd name="connsiteX167" fmla="*/ 544167 w 4560888"/>
                  <a:gd name="connsiteY167" fmla="*/ 2633660 h 4476748"/>
                  <a:gd name="connsiteX168" fmla="*/ 3757130 w 4560888"/>
                  <a:gd name="connsiteY168" fmla="*/ 2157410 h 4476748"/>
                  <a:gd name="connsiteX169" fmla="*/ 4039084 w 4560888"/>
                  <a:gd name="connsiteY169" fmla="*/ 2157410 h 4476748"/>
                  <a:gd name="connsiteX170" fmla="*/ 4068763 w 4560888"/>
                  <a:gd name="connsiteY170" fmla="*/ 2187228 h 4476748"/>
                  <a:gd name="connsiteX171" fmla="*/ 4068763 w 4560888"/>
                  <a:gd name="connsiteY171" fmla="*/ 2470493 h 4476748"/>
                  <a:gd name="connsiteX172" fmla="*/ 4039084 w 4560888"/>
                  <a:gd name="connsiteY172" fmla="*/ 2500310 h 4476748"/>
                  <a:gd name="connsiteX173" fmla="*/ 3757130 w 4560888"/>
                  <a:gd name="connsiteY173" fmla="*/ 2500310 h 4476748"/>
                  <a:gd name="connsiteX174" fmla="*/ 3727450 w 4560888"/>
                  <a:gd name="connsiteY174" fmla="*/ 2470493 h 4476748"/>
                  <a:gd name="connsiteX175" fmla="*/ 3727450 w 4560888"/>
                  <a:gd name="connsiteY175" fmla="*/ 2187228 h 4476748"/>
                  <a:gd name="connsiteX176" fmla="*/ 3757130 w 4560888"/>
                  <a:gd name="connsiteY176" fmla="*/ 2157410 h 4476748"/>
                  <a:gd name="connsiteX177" fmla="*/ 3274530 w 4560888"/>
                  <a:gd name="connsiteY177" fmla="*/ 2157410 h 4476748"/>
                  <a:gd name="connsiteX178" fmla="*/ 3556484 w 4560888"/>
                  <a:gd name="connsiteY178" fmla="*/ 2157410 h 4476748"/>
                  <a:gd name="connsiteX179" fmla="*/ 3586163 w 4560888"/>
                  <a:gd name="connsiteY179" fmla="*/ 2187228 h 4476748"/>
                  <a:gd name="connsiteX180" fmla="*/ 3586163 w 4560888"/>
                  <a:gd name="connsiteY180" fmla="*/ 2470493 h 4476748"/>
                  <a:gd name="connsiteX181" fmla="*/ 3556484 w 4560888"/>
                  <a:gd name="connsiteY181" fmla="*/ 2500310 h 4476748"/>
                  <a:gd name="connsiteX182" fmla="*/ 3274530 w 4560888"/>
                  <a:gd name="connsiteY182" fmla="*/ 2500310 h 4476748"/>
                  <a:gd name="connsiteX183" fmla="*/ 3244850 w 4560888"/>
                  <a:gd name="connsiteY183" fmla="*/ 2470493 h 4476748"/>
                  <a:gd name="connsiteX184" fmla="*/ 3244850 w 4560888"/>
                  <a:gd name="connsiteY184" fmla="*/ 2187228 h 4476748"/>
                  <a:gd name="connsiteX185" fmla="*/ 3274530 w 4560888"/>
                  <a:gd name="connsiteY185" fmla="*/ 2157410 h 4476748"/>
                  <a:gd name="connsiteX186" fmla="*/ 2774468 w 4560888"/>
                  <a:gd name="connsiteY186" fmla="*/ 2157410 h 4476748"/>
                  <a:gd name="connsiteX187" fmla="*/ 3056422 w 4560888"/>
                  <a:gd name="connsiteY187" fmla="*/ 2157410 h 4476748"/>
                  <a:gd name="connsiteX188" fmla="*/ 3086101 w 4560888"/>
                  <a:gd name="connsiteY188" fmla="*/ 2187228 h 4476748"/>
                  <a:gd name="connsiteX189" fmla="*/ 3086101 w 4560888"/>
                  <a:gd name="connsiteY189" fmla="*/ 2470493 h 4476748"/>
                  <a:gd name="connsiteX190" fmla="*/ 3056422 w 4560888"/>
                  <a:gd name="connsiteY190" fmla="*/ 2500310 h 4476748"/>
                  <a:gd name="connsiteX191" fmla="*/ 2774468 w 4560888"/>
                  <a:gd name="connsiteY191" fmla="*/ 2500310 h 4476748"/>
                  <a:gd name="connsiteX192" fmla="*/ 2744788 w 4560888"/>
                  <a:gd name="connsiteY192" fmla="*/ 2470493 h 4476748"/>
                  <a:gd name="connsiteX193" fmla="*/ 2744788 w 4560888"/>
                  <a:gd name="connsiteY193" fmla="*/ 2187228 h 4476748"/>
                  <a:gd name="connsiteX194" fmla="*/ 2774468 w 4560888"/>
                  <a:gd name="connsiteY194" fmla="*/ 2157410 h 4476748"/>
                  <a:gd name="connsiteX195" fmla="*/ 1526847 w 4560888"/>
                  <a:gd name="connsiteY195" fmla="*/ 2157410 h 4476748"/>
                  <a:gd name="connsiteX196" fmla="*/ 1813254 w 4560888"/>
                  <a:gd name="connsiteY196" fmla="*/ 2157410 h 4476748"/>
                  <a:gd name="connsiteX197" fmla="*/ 1843088 w 4560888"/>
                  <a:gd name="connsiteY197" fmla="*/ 2187228 h 4476748"/>
                  <a:gd name="connsiteX198" fmla="*/ 1843088 w 4560888"/>
                  <a:gd name="connsiteY198" fmla="*/ 2470493 h 4476748"/>
                  <a:gd name="connsiteX199" fmla="*/ 1813254 w 4560888"/>
                  <a:gd name="connsiteY199" fmla="*/ 2500310 h 4476748"/>
                  <a:gd name="connsiteX200" fmla="*/ 1526847 w 4560888"/>
                  <a:gd name="connsiteY200" fmla="*/ 2500310 h 4476748"/>
                  <a:gd name="connsiteX201" fmla="*/ 1497013 w 4560888"/>
                  <a:gd name="connsiteY201" fmla="*/ 2470493 h 4476748"/>
                  <a:gd name="connsiteX202" fmla="*/ 1497013 w 4560888"/>
                  <a:gd name="connsiteY202" fmla="*/ 2187228 h 4476748"/>
                  <a:gd name="connsiteX203" fmla="*/ 1526847 w 4560888"/>
                  <a:gd name="connsiteY203" fmla="*/ 2157410 h 4476748"/>
                  <a:gd name="connsiteX204" fmla="*/ 1039329 w 4560888"/>
                  <a:gd name="connsiteY204" fmla="*/ 2157410 h 4476748"/>
                  <a:gd name="connsiteX205" fmla="*/ 1321283 w 4560888"/>
                  <a:gd name="connsiteY205" fmla="*/ 2157410 h 4476748"/>
                  <a:gd name="connsiteX206" fmla="*/ 1350963 w 4560888"/>
                  <a:gd name="connsiteY206" fmla="*/ 2187228 h 4476748"/>
                  <a:gd name="connsiteX207" fmla="*/ 1350963 w 4560888"/>
                  <a:gd name="connsiteY207" fmla="*/ 2470493 h 4476748"/>
                  <a:gd name="connsiteX208" fmla="*/ 1321283 w 4560888"/>
                  <a:gd name="connsiteY208" fmla="*/ 2500310 h 4476748"/>
                  <a:gd name="connsiteX209" fmla="*/ 1039329 w 4560888"/>
                  <a:gd name="connsiteY209" fmla="*/ 2500310 h 4476748"/>
                  <a:gd name="connsiteX210" fmla="*/ 1009650 w 4560888"/>
                  <a:gd name="connsiteY210" fmla="*/ 2470493 h 4476748"/>
                  <a:gd name="connsiteX211" fmla="*/ 1009650 w 4560888"/>
                  <a:gd name="connsiteY211" fmla="*/ 2187228 h 4476748"/>
                  <a:gd name="connsiteX212" fmla="*/ 1039329 w 4560888"/>
                  <a:gd name="connsiteY212" fmla="*/ 2157410 h 4476748"/>
                  <a:gd name="connsiteX213" fmla="*/ 544167 w 4560888"/>
                  <a:gd name="connsiteY213" fmla="*/ 2157410 h 4476748"/>
                  <a:gd name="connsiteX214" fmla="*/ 827432 w 4560888"/>
                  <a:gd name="connsiteY214" fmla="*/ 2157410 h 4476748"/>
                  <a:gd name="connsiteX215" fmla="*/ 857250 w 4560888"/>
                  <a:gd name="connsiteY215" fmla="*/ 2187228 h 4476748"/>
                  <a:gd name="connsiteX216" fmla="*/ 857250 w 4560888"/>
                  <a:gd name="connsiteY216" fmla="*/ 2470493 h 4476748"/>
                  <a:gd name="connsiteX217" fmla="*/ 827432 w 4560888"/>
                  <a:gd name="connsiteY217" fmla="*/ 2500310 h 4476748"/>
                  <a:gd name="connsiteX218" fmla="*/ 544167 w 4560888"/>
                  <a:gd name="connsiteY218" fmla="*/ 2500310 h 4476748"/>
                  <a:gd name="connsiteX219" fmla="*/ 514350 w 4560888"/>
                  <a:gd name="connsiteY219" fmla="*/ 2470493 h 4476748"/>
                  <a:gd name="connsiteX220" fmla="*/ 514350 w 4560888"/>
                  <a:gd name="connsiteY220" fmla="*/ 2187228 h 4476748"/>
                  <a:gd name="connsiteX221" fmla="*/ 544167 w 4560888"/>
                  <a:gd name="connsiteY221" fmla="*/ 2157410 h 4476748"/>
                  <a:gd name="connsiteX222" fmla="*/ 2274189 w 4560888"/>
                  <a:gd name="connsiteY222" fmla="*/ 1470023 h 4476748"/>
                  <a:gd name="connsiteX223" fmla="*/ 2238375 w 4560888"/>
                  <a:gd name="connsiteY223" fmla="*/ 1505687 h 4476748"/>
                  <a:gd name="connsiteX224" fmla="*/ 2238375 w 4560888"/>
                  <a:gd name="connsiteY224" fmla="*/ 1689948 h 4476748"/>
                  <a:gd name="connsiteX225" fmla="*/ 2274189 w 4560888"/>
                  <a:gd name="connsiteY225" fmla="*/ 1725611 h 4476748"/>
                  <a:gd name="connsiteX226" fmla="*/ 2429384 w 4560888"/>
                  <a:gd name="connsiteY226" fmla="*/ 1725611 h 4476748"/>
                  <a:gd name="connsiteX227" fmla="*/ 2462213 w 4560888"/>
                  <a:gd name="connsiteY227" fmla="*/ 1689948 h 4476748"/>
                  <a:gd name="connsiteX228" fmla="*/ 2429384 w 4560888"/>
                  <a:gd name="connsiteY228" fmla="*/ 1654284 h 4476748"/>
                  <a:gd name="connsiteX229" fmla="*/ 2310003 w 4560888"/>
                  <a:gd name="connsiteY229" fmla="*/ 1654284 h 4476748"/>
                  <a:gd name="connsiteX230" fmla="*/ 2310003 w 4560888"/>
                  <a:gd name="connsiteY230" fmla="*/ 1505687 h 4476748"/>
                  <a:gd name="connsiteX231" fmla="*/ 2274189 w 4560888"/>
                  <a:gd name="connsiteY231" fmla="*/ 1470023 h 4476748"/>
                  <a:gd name="connsiteX232" fmla="*/ 2286000 w 4560888"/>
                  <a:gd name="connsiteY232" fmla="*/ 1389060 h 4476748"/>
                  <a:gd name="connsiteX233" fmla="*/ 2571750 w 4560888"/>
                  <a:gd name="connsiteY233" fmla="*/ 1677985 h 4476748"/>
                  <a:gd name="connsiteX234" fmla="*/ 2286000 w 4560888"/>
                  <a:gd name="connsiteY234" fmla="*/ 1966910 h 4476748"/>
                  <a:gd name="connsiteX235" fmla="*/ 2000250 w 4560888"/>
                  <a:gd name="connsiteY235" fmla="*/ 1677985 h 4476748"/>
                  <a:gd name="connsiteX236" fmla="*/ 2286000 w 4560888"/>
                  <a:gd name="connsiteY236" fmla="*/ 1389060 h 4476748"/>
                  <a:gd name="connsiteX237" fmla="*/ 2232618 w 4560888"/>
                  <a:gd name="connsiteY237" fmla="*/ 0 h 4476748"/>
                  <a:gd name="connsiteX238" fmla="*/ 2327848 w 4560888"/>
                  <a:gd name="connsiteY238" fmla="*/ 0 h 4476748"/>
                  <a:gd name="connsiteX239" fmla="*/ 3119444 w 4560888"/>
                  <a:gd name="connsiteY239" fmla="*/ 0 h 4476748"/>
                  <a:gd name="connsiteX240" fmla="*/ 3131348 w 4560888"/>
                  <a:gd name="connsiteY240" fmla="*/ 29720 h 4476748"/>
                  <a:gd name="connsiteX241" fmla="*/ 2928985 w 4560888"/>
                  <a:gd name="connsiteY241" fmla="*/ 231817 h 4476748"/>
                  <a:gd name="connsiteX242" fmla="*/ 2928985 w 4560888"/>
                  <a:gd name="connsiteY242" fmla="*/ 255593 h 4476748"/>
                  <a:gd name="connsiteX243" fmla="*/ 3131348 w 4560888"/>
                  <a:gd name="connsiteY243" fmla="*/ 457689 h 4476748"/>
                  <a:gd name="connsiteX244" fmla="*/ 3119444 w 4560888"/>
                  <a:gd name="connsiteY244" fmla="*/ 487409 h 4476748"/>
                  <a:gd name="connsiteX245" fmla="*/ 2360583 w 4560888"/>
                  <a:gd name="connsiteY245" fmla="*/ 487409 h 4476748"/>
                  <a:gd name="connsiteX246" fmla="*/ 2345703 w 4560888"/>
                  <a:gd name="connsiteY246" fmla="*/ 502270 h 4476748"/>
                  <a:gd name="connsiteX247" fmla="*/ 2345703 w 4560888"/>
                  <a:gd name="connsiteY247" fmla="*/ 894575 h 4476748"/>
                  <a:gd name="connsiteX248" fmla="*/ 2324872 w 4560888"/>
                  <a:gd name="connsiteY248" fmla="*/ 879715 h 4476748"/>
                  <a:gd name="connsiteX249" fmla="*/ 2250473 w 4560888"/>
                  <a:gd name="connsiteY249" fmla="*/ 879715 h 4476748"/>
                  <a:gd name="connsiteX250" fmla="*/ 2217738 w 4560888"/>
                  <a:gd name="connsiteY250" fmla="*/ 906463 h 4476748"/>
                  <a:gd name="connsiteX251" fmla="*/ 2217738 w 4560888"/>
                  <a:gd name="connsiteY251" fmla="*/ 487409 h 4476748"/>
                  <a:gd name="connsiteX252" fmla="*/ 2217738 w 4560888"/>
                  <a:gd name="connsiteY252" fmla="*/ 17832 h 4476748"/>
                  <a:gd name="connsiteX253" fmla="*/ 2232618 w 4560888"/>
                  <a:gd name="connsiteY253" fmla="*/ 0 h 4476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</a:cxnLst>
                <a:rect l="l" t="t" r="r" b="b"/>
                <a:pathLst>
                  <a:path w="4560888" h="4476748">
                    <a:moveTo>
                      <a:pt x="4247806" y="3752848"/>
                    </a:moveTo>
                    <a:cubicBezTo>
                      <a:pt x="4531071" y="3752848"/>
                      <a:pt x="4531071" y="3752848"/>
                      <a:pt x="4531071" y="3752848"/>
                    </a:cubicBezTo>
                    <a:cubicBezTo>
                      <a:pt x="4548961" y="3752848"/>
                      <a:pt x="4560888" y="3767757"/>
                      <a:pt x="4560888" y="3782666"/>
                    </a:cubicBezTo>
                    <a:cubicBezTo>
                      <a:pt x="4560888" y="4065931"/>
                      <a:pt x="4560888" y="4065931"/>
                      <a:pt x="4560888" y="4065931"/>
                    </a:cubicBezTo>
                    <a:cubicBezTo>
                      <a:pt x="4560888" y="4083821"/>
                      <a:pt x="4548961" y="4095748"/>
                      <a:pt x="4531071" y="4095748"/>
                    </a:cubicBezTo>
                    <a:cubicBezTo>
                      <a:pt x="4247806" y="4095748"/>
                      <a:pt x="4247806" y="4095748"/>
                      <a:pt x="4247806" y="4095748"/>
                    </a:cubicBezTo>
                    <a:cubicBezTo>
                      <a:pt x="4229915" y="4095748"/>
                      <a:pt x="4217988" y="4083821"/>
                      <a:pt x="4217988" y="4065931"/>
                    </a:cubicBezTo>
                    <a:cubicBezTo>
                      <a:pt x="4217988" y="3782666"/>
                      <a:pt x="4217988" y="3782666"/>
                      <a:pt x="4217988" y="3782666"/>
                    </a:cubicBezTo>
                    <a:cubicBezTo>
                      <a:pt x="4217988" y="3767757"/>
                      <a:pt x="4229915" y="3752848"/>
                      <a:pt x="4247806" y="3752848"/>
                    </a:cubicBezTo>
                    <a:close/>
                    <a:moveTo>
                      <a:pt x="3757130" y="3752848"/>
                    </a:moveTo>
                    <a:cubicBezTo>
                      <a:pt x="4039084" y="3752848"/>
                      <a:pt x="4039084" y="3752848"/>
                      <a:pt x="4039084" y="3752848"/>
                    </a:cubicBezTo>
                    <a:cubicBezTo>
                      <a:pt x="4056891" y="3752848"/>
                      <a:pt x="4068763" y="3767757"/>
                      <a:pt x="4068763" y="3782666"/>
                    </a:cubicBezTo>
                    <a:cubicBezTo>
                      <a:pt x="4068763" y="4065931"/>
                      <a:pt x="4068763" y="4065931"/>
                      <a:pt x="4068763" y="4065931"/>
                    </a:cubicBezTo>
                    <a:cubicBezTo>
                      <a:pt x="4068763" y="4083821"/>
                      <a:pt x="4056891" y="4095748"/>
                      <a:pt x="4039084" y="4095748"/>
                    </a:cubicBezTo>
                    <a:cubicBezTo>
                      <a:pt x="3757130" y="4095748"/>
                      <a:pt x="3757130" y="4095748"/>
                      <a:pt x="3757130" y="4095748"/>
                    </a:cubicBezTo>
                    <a:cubicBezTo>
                      <a:pt x="3742290" y="4095748"/>
                      <a:pt x="3727450" y="4083821"/>
                      <a:pt x="3727450" y="4065931"/>
                    </a:cubicBezTo>
                    <a:cubicBezTo>
                      <a:pt x="3727450" y="3782666"/>
                      <a:pt x="3727450" y="3782666"/>
                      <a:pt x="3727450" y="3782666"/>
                    </a:cubicBezTo>
                    <a:cubicBezTo>
                      <a:pt x="3727450" y="3767757"/>
                      <a:pt x="3742290" y="3752848"/>
                      <a:pt x="3757130" y="3752848"/>
                    </a:cubicBezTo>
                    <a:close/>
                    <a:moveTo>
                      <a:pt x="3261968" y="3752848"/>
                    </a:moveTo>
                    <a:cubicBezTo>
                      <a:pt x="3545233" y="3752848"/>
                      <a:pt x="3545233" y="3752848"/>
                      <a:pt x="3545233" y="3752848"/>
                    </a:cubicBezTo>
                    <a:cubicBezTo>
                      <a:pt x="3560142" y="3752848"/>
                      <a:pt x="3575050" y="3767757"/>
                      <a:pt x="3575050" y="3782666"/>
                    </a:cubicBezTo>
                    <a:cubicBezTo>
                      <a:pt x="3575050" y="4065931"/>
                      <a:pt x="3575050" y="4065931"/>
                      <a:pt x="3575050" y="4065931"/>
                    </a:cubicBezTo>
                    <a:cubicBezTo>
                      <a:pt x="3575050" y="4083821"/>
                      <a:pt x="3560142" y="4095748"/>
                      <a:pt x="3545233" y="4095748"/>
                    </a:cubicBezTo>
                    <a:cubicBezTo>
                      <a:pt x="3261968" y="4095748"/>
                      <a:pt x="3261968" y="4095748"/>
                      <a:pt x="3261968" y="4095748"/>
                    </a:cubicBezTo>
                    <a:cubicBezTo>
                      <a:pt x="3244077" y="4095748"/>
                      <a:pt x="3232150" y="4083821"/>
                      <a:pt x="3232150" y="4065931"/>
                    </a:cubicBezTo>
                    <a:cubicBezTo>
                      <a:pt x="3232150" y="3782666"/>
                      <a:pt x="3232150" y="3782666"/>
                      <a:pt x="3232150" y="3782666"/>
                    </a:cubicBezTo>
                    <a:cubicBezTo>
                      <a:pt x="3232150" y="3767757"/>
                      <a:pt x="3244077" y="3752848"/>
                      <a:pt x="3261968" y="3752848"/>
                    </a:cubicBezTo>
                    <a:close/>
                    <a:moveTo>
                      <a:pt x="1015517" y="3752848"/>
                    </a:moveTo>
                    <a:cubicBezTo>
                      <a:pt x="1297471" y="3752848"/>
                      <a:pt x="1297471" y="3752848"/>
                      <a:pt x="1297471" y="3752848"/>
                    </a:cubicBezTo>
                    <a:cubicBezTo>
                      <a:pt x="1315279" y="3752848"/>
                      <a:pt x="1327151" y="3767757"/>
                      <a:pt x="1327151" y="3782666"/>
                    </a:cubicBezTo>
                    <a:cubicBezTo>
                      <a:pt x="1327151" y="4065931"/>
                      <a:pt x="1327151" y="4065931"/>
                      <a:pt x="1327151" y="4065931"/>
                    </a:cubicBezTo>
                    <a:cubicBezTo>
                      <a:pt x="1327151" y="4083821"/>
                      <a:pt x="1315279" y="4095748"/>
                      <a:pt x="1297471" y="4095748"/>
                    </a:cubicBezTo>
                    <a:cubicBezTo>
                      <a:pt x="1015517" y="4095748"/>
                      <a:pt x="1015517" y="4095748"/>
                      <a:pt x="1015517" y="4095748"/>
                    </a:cubicBezTo>
                    <a:cubicBezTo>
                      <a:pt x="1000677" y="4095748"/>
                      <a:pt x="985838" y="4083821"/>
                      <a:pt x="985838" y="4065931"/>
                    </a:cubicBezTo>
                    <a:cubicBezTo>
                      <a:pt x="985838" y="3782666"/>
                      <a:pt x="985838" y="3782666"/>
                      <a:pt x="985838" y="3782666"/>
                    </a:cubicBezTo>
                    <a:cubicBezTo>
                      <a:pt x="985838" y="3767757"/>
                      <a:pt x="1000677" y="3752848"/>
                      <a:pt x="1015517" y="3752848"/>
                    </a:cubicBezTo>
                    <a:close/>
                    <a:moveTo>
                      <a:pt x="523547" y="3752848"/>
                    </a:moveTo>
                    <a:cubicBezTo>
                      <a:pt x="809954" y="3752848"/>
                      <a:pt x="809954" y="3752848"/>
                      <a:pt x="809954" y="3752848"/>
                    </a:cubicBezTo>
                    <a:cubicBezTo>
                      <a:pt x="824871" y="3752848"/>
                      <a:pt x="839788" y="3767757"/>
                      <a:pt x="839788" y="3782666"/>
                    </a:cubicBezTo>
                    <a:cubicBezTo>
                      <a:pt x="839788" y="4065931"/>
                      <a:pt x="839788" y="4065931"/>
                      <a:pt x="839788" y="4065931"/>
                    </a:cubicBezTo>
                    <a:cubicBezTo>
                      <a:pt x="839788" y="4083821"/>
                      <a:pt x="824871" y="4095748"/>
                      <a:pt x="809954" y="4095748"/>
                    </a:cubicBezTo>
                    <a:cubicBezTo>
                      <a:pt x="523547" y="4095748"/>
                      <a:pt x="523547" y="4095748"/>
                      <a:pt x="523547" y="4095748"/>
                    </a:cubicBezTo>
                    <a:cubicBezTo>
                      <a:pt x="505646" y="4095748"/>
                      <a:pt x="493713" y="4083821"/>
                      <a:pt x="493713" y="4065931"/>
                    </a:cubicBezTo>
                    <a:cubicBezTo>
                      <a:pt x="493713" y="3782666"/>
                      <a:pt x="493713" y="3782666"/>
                      <a:pt x="493713" y="3782666"/>
                    </a:cubicBezTo>
                    <a:cubicBezTo>
                      <a:pt x="493713" y="3767757"/>
                      <a:pt x="505646" y="3752848"/>
                      <a:pt x="523547" y="3752848"/>
                    </a:cubicBezTo>
                    <a:close/>
                    <a:moveTo>
                      <a:pt x="29817" y="3752848"/>
                    </a:moveTo>
                    <a:cubicBezTo>
                      <a:pt x="313082" y="3752848"/>
                      <a:pt x="313082" y="3752848"/>
                      <a:pt x="313082" y="3752848"/>
                    </a:cubicBezTo>
                    <a:cubicBezTo>
                      <a:pt x="330973" y="3752848"/>
                      <a:pt x="342900" y="3767757"/>
                      <a:pt x="342900" y="3782666"/>
                    </a:cubicBezTo>
                    <a:cubicBezTo>
                      <a:pt x="342900" y="4065931"/>
                      <a:pt x="342900" y="4065931"/>
                      <a:pt x="342900" y="4065931"/>
                    </a:cubicBezTo>
                    <a:cubicBezTo>
                      <a:pt x="342900" y="4083821"/>
                      <a:pt x="330973" y="4095748"/>
                      <a:pt x="313082" y="4095748"/>
                    </a:cubicBezTo>
                    <a:cubicBezTo>
                      <a:pt x="29817" y="4095748"/>
                      <a:pt x="29817" y="4095748"/>
                      <a:pt x="29817" y="4095748"/>
                    </a:cubicBezTo>
                    <a:cubicBezTo>
                      <a:pt x="14909" y="4095748"/>
                      <a:pt x="0" y="4083821"/>
                      <a:pt x="0" y="4065931"/>
                    </a:cubicBezTo>
                    <a:cubicBezTo>
                      <a:pt x="0" y="3782666"/>
                      <a:pt x="0" y="3782666"/>
                      <a:pt x="0" y="3782666"/>
                    </a:cubicBezTo>
                    <a:cubicBezTo>
                      <a:pt x="0" y="3767757"/>
                      <a:pt x="14909" y="3752848"/>
                      <a:pt x="29817" y="3752848"/>
                    </a:cubicBezTo>
                    <a:close/>
                    <a:moveTo>
                      <a:pt x="4247806" y="3267073"/>
                    </a:moveTo>
                    <a:cubicBezTo>
                      <a:pt x="4531071" y="3267073"/>
                      <a:pt x="4531071" y="3267073"/>
                      <a:pt x="4531071" y="3267073"/>
                    </a:cubicBezTo>
                    <a:cubicBezTo>
                      <a:pt x="4548961" y="3267073"/>
                      <a:pt x="4560888" y="3281990"/>
                      <a:pt x="4560888" y="3296907"/>
                    </a:cubicBezTo>
                    <a:cubicBezTo>
                      <a:pt x="4560888" y="3583314"/>
                      <a:pt x="4560888" y="3583314"/>
                      <a:pt x="4560888" y="3583314"/>
                    </a:cubicBezTo>
                    <a:cubicBezTo>
                      <a:pt x="4560888" y="3601215"/>
                      <a:pt x="4548961" y="3613148"/>
                      <a:pt x="4531071" y="3613148"/>
                    </a:cubicBezTo>
                    <a:cubicBezTo>
                      <a:pt x="4247806" y="3613148"/>
                      <a:pt x="4247806" y="3613148"/>
                      <a:pt x="4247806" y="3613148"/>
                    </a:cubicBezTo>
                    <a:cubicBezTo>
                      <a:pt x="4229915" y="3613148"/>
                      <a:pt x="4217988" y="3601215"/>
                      <a:pt x="4217988" y="3583314"/>
                    </a:cubicBezTo>
                    <a:cubicBezTo>
                      <a:pt x="4217988" y="3296907"/>
                      <a:pt x="4217988" y="3296907"/>
                      <a:pt x="4217988" y="3296907"/>
                    </a:cubicBezTo>
                    <a:cubicBezTo>
                      <a:pt x="4217988" y="3281990"/>
                      <a:pt x="4229915" y="3267073"/>
                      <a:pt x="4247806" y="3267073"/>
                    </a:cubicBezTo>
                    <a:close/>
                    <a:moveTo>
                      <a:pt x="3757130" y="3267073"/>
                    </a:moveTo>
                    <a:cubicBezTo>
                      <a:pt x="4039084" y="3267073"/>
                      <a:pt x="4039084" y="3267073"/>
                      <a:pt x="4039084" y="3267073"/>
                    </a:cubicBezTo>
                    <a:cubicBezTo>
                      <a:pt x="4056891" y="3267073"/>
                      <a:pt x="4068763" y="3281990"/>
                      <a:pt x="4068763" y="3296907"/>
                    </a:cubicBezTo>
                    <a:cubicBezTo>
                      <a:pt x="4068763" y="3583314"/>
                      <a:pt x="4068763" y="3583314"/>
                      <a:pt x="4068763" y="3583314"/>
                    </a:cubicBezTo>
                    <a:cubicBezTo>
                      <a:pt x="4068763" y="3601215"/>
                      <a:pt x="4056891" y="3613148"/>
                      <a:pt x="4039084" y="3613148"/>
                    </a:cubicBezTo>
                    <a:cubicBezTo>
                      <a:pt x="3757130" y="3613148"/>
                      <a:pt x="3757130" y="3613148"/>
                      <a:pt x="3757130" y="3613148"/>
                    </a:cubicBezTo>
                    <a:cubicBezTo>
                      <a:pt x="3742290" y="3613148"/>
                      <a:pt x="3727450" y="3601215"/>
                      <a:pt x="3727450" y="3583314"/>
                    </a:cubicBezTo>
                    <a:cubicBezTo>
                      <a:pt x="3727450" y="3296907"/>
                      <a:pt x="3727450" y="3296907"/>
                      <a:pt x="3727450" y="3296907"/>
                    </a:cubicBezTo>
                    <a:cubicBezTo>
                      <a:pt x="3727450" y="3281990"/>
                      <a:pt x="3742290" y="3267073"/>
                      <a:pt x="3757130" y="3267073"/>
                    </a:cubicBezTo>
                    <a:close/>
                    <a:moveTo>
                      <a:pt x="3261968" y="3267073"/>
                    </a:moveTo>
                    <a:cubicBezTo>
                      <a:pt x="3545233" y="3267073"/>
                      <a:pt x="3545233" y="3267073"/>
                      <a:pt x="3545233" y="3267073"/>
                    </a:cubicBezTo>
                    <a:cubicBezTo>
                      <a:pt x="3560142" y="3267073"/>
                      <a:pt x="3575050" y="3281990"/>
                      <a:pt x="3575050" y="3296907"/>
                    </a:cubicBezTo>
                    <a:cubicBezTo>
                      <a:pt x="3575050" y="3583314"/>
                      <a:pt x="3575050" y="3583314"/>
                      <a:pt x="3575050" y="3583314"/>
                    </a:cubicBezTo>
                    <a:cubicBezTo>
                      <a:pt x="3575050" y="3601215"/>
                      <a:pt x="3560142" y="3613148"/>
                      <a:pt x="3545233" y="3613148"/>
                    </a:cubicBezTo>
                    <a:cubicBezTo>
                      <a:pt x="3261968" y="3613148"/>
                      <a:pt x="3261968" y="3613148"/>
                      <a:pt x="3261968" y="3613148"/>
                    </a:cubicBezTo>
                    <a:cubicBezTo>
                      <a:pt x="3244077" y="3613148"/>
                      <a:pt x="3232150" y="3601215"/>
                      <a:pt x="3232150" y="3583314"/>
                    </a:cubicBezTo>
                    <a:cubicBezTo>
                      <a:pt x="3232150" y="3296907"/>
                      <a:pt x="3232150" y="3296907"/>
                      <a:pt x="3232150" y="3296907"/>
                    </a:cubicBezTo>
                    <a:cubicBezTo>
                      <a:pt x="3232150" y="3281990"/>
                      <a:pt x="3244077" y="3267073"/>
                      <a:pt x="3261968" y="3267073"/>
                    </a:cubicBezTo>
                    <a:close/>
                    <a:moveTo>
                      <a:pt x="1015517" y="3267073"/>
                    </a:moveTo>
                    <a:cubicBezTo>
                      <a:pt x="1297471" y="3267073"/>
                      <a:pt x="1297471" y="3267073"/>
                      <a:pt x="1297471" y="3267073"/>
                    </a:cubicBezTo>
                    <a:cubicBezTo>
                      <a:pt x="1315279" y="3267073"/>
                      <a:pt x="1327151" y="3281990"/>
                      <a:pt x="1327151" y="3296907"/>
                    </a:cubicBezTo>
                    <a:cubicBezTo>
                      <a:pt x="1327151" y="3583314"/>
                      <a:pt x="1327151" y="3583314"/>
                      <a:pt x="1327151" y="3583314"/>
                    </a:cubicBezTo>
                    <a:cubicBezTo>
                      <a:pt x="1327151" y="3601215"/>
                      <a:pt x="1315279" y="3613148"/>
                      <a:pt x="1297471" y="3613148"/>
                    </a:cubicBezTo>
                    <a:cubicBezTo>
                      <a:pt x="1015517" y="3613148"/>
                      <a:pt x="1015517" y="3613148"/>
                      <a:pt x="1015517" y="3613148"/>
                    </a:cubicBezTo>
                    <a:cubicBezTo>
                      <a:pt x="1000677" y="3613148"/>
                      <a:pt x="985838" y="3601215"/>
                      <a:pt x="985838" y="3583314"/>
                    </a:cubicBezTo>
                    <a:cubicBezTo>
                      <a:pt x="985838" y="3296907"/>
                      <a:pt x="985838" y="3296907"/>
                      <a:pt x="985838" y="3296907"/>
                    </a:cubicBezTo>
                    <a:cubicBezTo>
                      <a:pt x="985838" y="3281990"/>
                      <a:pt x="1000677" y="3267073"/>
                      <a:pt x="1015517" y="3267073"/>
                    </a:cubicBezTo>
                    <a:close/>
                    <a:moveTo>
                      <a:pt x="523547" y="3267073"/>
                    </a:moveTo>
                    <a:cubicBezTo>
                      <a:pt x="809954" y="3267073"/>
                      <a:pt x="809954" y="3267073"/>
                      <a:pt x="809954" y="3267073"/>
                    </a:cubicBezTo>
                    <a:cubicBezTo>
                      <a:pt x="824871" y="3267073"/>
                      <a:pt x="839788" y="3281990"/>
                      <a:pt x="839788" y="3296907"/>
                    </a:cubicBezTo>
                    <a:cubicBezTo>
                      <a:pt x="839788" y="3583314"/>
                      <a:pt x="839788" y="3583314"/>
                      <a:pt x="839788" y="3583314"/>
                    </a:cubicBezTo>
                    <a:cubicBezTo>
                      <a:pt x="839788" y="3601215"/>
                      <a:pt x="824871" y="3613148"/>
                      <a:pt x="809954" y="3613148"/>
                    </a:cubicBezTo>
                    <a:cubicBezTo>
                      <a:pt x="523547" y="3613148"/>
                      <a:pt x="523547" y="3613148"/>
                      <a:pt x="523547" y="3613148"/>
                    </a:cubicBezTo>
                    <a:cubicBezTo>
                      <a:pt x="505646" y="3613148"/>
                      <a:pt x="493713" y="3601215"/>
                      <a:pt x="493713" y="3583314"/>
                    </a:cubicBezTo>
                    <a:cubicBezTo>
                      <a:pt x="493713" y="3296907"/>
                      <a:pt x="493713" y="3296907"/>
                      <a:pt x="493713" y="3296907"/>
                    </a:cubicBezTo>
                    <a:cubicBezTo>
                      <a:pt x="493713" y="3281990"/>
                      <a:pt x="505646" y="3267073"/>
                      <a:pt x="523547" y="3267073"/>
                    </a:cubicBezTo>
                    <a:close/>
                    <a:moveTo>
                      <a:pt x="29817" y="3267073"/>
                    </a:moveTo>
                    <a:cubicBezTo>
                      <a:pt x="313082" y="3267073"/>
                      <a:pt x="313082" y="3267073"/>
                      <a:pt x="313082" y="3267073"/>
                    </a:cubicBezTo>
                    <a:cubicBezTo>
                      <a:pt x="330973" y="3267073"/>
                      <a:pt x="342900" y="3281990"/>
                      <a:pt x="342900" y="3296907"/>
                    </a:cubicBezTo>
                    <a:cubicBezTo>
                      <a:pt x="342900" y="3583314"/>
                      <a:pt x="342900" y="3583314"/>
                      <a:pt x="342900" y="3583314"/>
                    </a:cubicBezTo>
                    <a:cubicBezTo>
                      <a:pt x="342900" y="3601215"/>
                      <a:pt x="330973" y="3613148"/>
                      <a:pt x="313082" y="3613148"/>
                    </a:cubicBezTo>
                    <a:cubicBezTo>
                      <a:pt x="29817" y="3613148"/>
                      <a:pt x="29817" y="3613148"/>
                      <a:pt x="29817" y="3613148"/>
                    </a:cubicBezTo>
                    <a:cubicBezTo>
                      <a:pt x="14909" y="3613148"/>
                      <a:pt x="0" y="3601215"/>
                      <a:pt x="0" y="3583314"/>
                    </a:cubicBezTo>
                    <a:cubicBezTo>
                      <a:pt x="0" y="3296907"/>
                      <a:pt x="0" y="3296907"/>
                      <a:pt x="0" y="3296907"/>
                    </a:cubicBezTo>
                    <a:cubicBezTo>
                      <a:pt x="0" y="3281990"/>
                      <a:pt x="14909" y="3267073"/>
                      <a:pt x="29817" y="3267073"/>
                    </a:cubicBezTo>
                    <a:close/>
                    <a:moveTo>
                      <a:pt x="2286000" y="3255960"/>
                    </a:moveTo>
                    <a:cubicBezTo>
                      <a:pt x="2517843" y="3255960"/>
                      <a:pt x="2705100" y="3381017"/>
                      <a:pt x="2705100" y="3532871"/>
                    </a:cubicBezTo>
                    <a:cubicBezTo>
                      <a:pt x="2705100" y="4476748"/>
                      <a:pt x="2705100" y="4476748"/>
                      <a:pt x="2705100" y="4476748"/>
                    </a:cubicBezTo>
                    <a:cubicBezTo>
                      <a:pt x="1866900" y="4476748"/>
                      <a:pt x="1866900" y="4476748"/>
                      <a:pt x="1866900" y="4476748"/>
                    </a:cubicBezTo>
                    <a:cubicBezTo>
                      <a:pt x="1866900" y="3532871"/>
                      <a:pt x="1866900" y="3532871"/>
                      <a:pt x="1866900" y="3532871"/>
                    </a:cubicBezTo>
                    <a:cubicBezTo>
                      <a:pt x="1866900" y="3381017"/>
                      <a:pt x="2054157" y="3255960"/>
                      <a:pt x="2286000" y="3255960"/>
                    </a:cubicBezTo>
                    <a:close/>
                    <a:moveTo>
                      <a:pt x="3757130" y="2633660"/>
                    </a:moveTo>
                    <a:cubicBezTo>
                      <a:pt x="4039084" y="2633660"/>
                      <a:pt x="4039084" y="2633660"/>
                      <a:pt x="4039084" y="2633660"/>
                    </a:cubicBezTo>
                    <a:cubicBezTo>
                      <a:pt x="4056891" y="2633660"/>
                      <a:pt x="4068763" y="2648552"/>
                      <a:pt x="4068763" y="2663443"/>
                    </a:cubicBezTo>
                    <a:cubicBezTo>
                      <a:pt x="4068763" y="2940427"/>
                      <a:pt x="4068763" y="2940427"/>
                      <a:pt x="4068763" y="2940427"/>
                    </a:cubicBezTo>
                    <a:cubicBezTo>
                      <a:pt x="4068763" y="2958297"/>
                      <a:pt x="4056891" y="2970210"/>
                      <a:pt x="4039084" y="2970210"/>
                    </a:cubicBezTo>
                    <a:cubicBezTo>
                      <a:pt x="3757130" y="2970210"/>
                      <a:pt x="3757130" y="2970210"/>
                      <a:pt x="3757130" y="2970210"/>
                    </a:cubicBezTo>
                    <a:cubicBezTo>
                      <a:pt x="3742290" y="2970210"/>
                      <a:pt x="3727450" y="2958297"/>
                      <a:pt x="3727450" y="2940427"/>
                    </a:cubicBezTo>
                    <a:cubicBezTo>
                      <a:pt x="3727450" y="2663443"/>
                      <a:pt x="3727450" y="2663443"/>
                      <a:pt x="3727450" y="2663443"/>
                    </a:cubicBezTo>
                    <a:cubicBezTo>
                      <a:pt x="3727450" y="2648552"/>
                      <a:pt x="3742290" y="2633660"/>
                      <a:pt x="3757130" y="2633660"/>
                    </a:cubicBezTo>
                    <a:close/>
                    <a:moveTo>
                      <a:pt x="3274530" y="2633660"/>
                    </a:moveTo>
                    <a:cubicBezTo>
                      <a:pt x="3556484" y="2633660"/>
                      <a:pt x="3556484" y="2633660"/>
                      <a:pt x="3556484" y="2633660"/>
                    </a:cubicBezTo>
                    <a:cubicBezTo>
                      <a:pt x="3571324" y="2633660"/>
                      <a:pt x="3586163" y="2648552"/>
                      <a:pt x="3586163" y="2663443"/>
                    </a:cubicBezTo>
                    <a:cubicBezTo>
                      <a:pt x="3586163" y="2940427"/>
                      <a:pt x="3586163" y="2940427"/>
                      <a:pt x="3586163" y="2940427"/>
                    </a:cubicBezTo>
                    <a:cubicBezTo>
                      <a:pt x="3586163" y="2958297"/>
                      <a:pt x="3571324" y="2970210"/>
                      <a:pt x="3556484" y="2970210"/>
                    </a:cubicBezTo>
                    <a:cubicBezTo>
                      <a:pt x="3274530" y="2970210"/>
                      <a:pt x="3274530" y="2970210"/>
                      <a:pt x="3274530" y="2970210"/>
                    </a:cubicBezTo>
                    <a:cubicBezTo>
                      <a:pt x="3256722" y="2970210"/>
                      <a:pt x="3244850" y="2958297"/>
                      <a:pt x="3244850" y="2940427"/>
                    </a:cubicBezTo>
                    <a:cubicBezTo>
                      <a:pt x="3244850" y="2663443"/>
                      <a:pt x="3244850" y="2663443"/>
                      <a:pt x="3244850" y="2663443"/>
                    </a:cubicBezTo>
                    <a:cubicBezTo>
                      <a:pt x="3244850" y="2648552"/>
                      <a:pt x="3256722" y="2633660"/>
                      <a:pt x="3274530" y="2633660"/>
                    </a:cubicBezTo>
                    <a:close/>
                    <a:moveTo>
                      <a:pt x="2774468" y="2633660"/>
                    </a:moveTo>
                    <a:cubicBezTo>
                      <a:pt x="3056422" y="2633660"/>
                      <a:pt x="3056422" y="2633660"/>
                      <a:pt x="3056422" y="2633660"/>
                    </a:cubicBezTo>
                    <a:cubicBezTo>
                      <a:pt x="3074229" y="2633660"/>
                      <a:pt x="3086101" y="2648552"/>
                      <a:pt x="3086101" y="2663443"/>
                    </a:cubicBezTo>
                    <a:cubicBezTo>
                      <a:pt x="3086101" y="2940427"/>
                      <a:pt x="3086101" y="2940427"/>
                      <a:pt x="3086101" y="2940427"/>
                    </a:cubicBezTo>
                    <a:cubicBezTo>
                      <a:pt x="3086101" y="2958297"/>
                      <a:pt x="3074229" y="2970210"/>
                      <a:pt x="3056422" y="2970210"/>
                    </a:cubicBezTo>
                    <a:cubicBezTo>
                      <a:pt x="2774468" y="2970210"/>
                      <a:pt x="2774468" y="2970210"/>
                      <a:pt x="2774468" y="2970210"/>
                    </a:cubicBezTo>
                    <a:cubicBezTo>
                      <a:pt x="2759628" y="2970210"/>
                      <a:pt x="2744788" y="2958297"/>
                      <a:pt x="2744788" y="2940427"/>
                    </a:cubicBezTo>
                    <a:cubicBezTo>
                      <a:pt x="2744788" y="2663443"/>
                      <a:pt x="2744788" y="2663443"/>
                      <a:pt x="2744788" y="2663443"/>
                    </a:cubicBezTo>
                    <a:cubicBezTo>
                      <a:pt x="2744788" y="2648552"/>
                      <a:pt x="2759628" y="2633660"/>
                      <a:pt x="2774468" y="2633660"/>
                    </a:cubicBezTo>
                    <a:close/>
                    <a:moveTo>
                      <a:pt x="1526847" y="2633660"/>
                    </a:moveTo>
                    <a:cubicBezTo>
                      <a:pt x="1813254" y="2633660"/>
                      <a:pt x="1813254" y="2633660"/>
                      <a:pt x="1813254" y="2633660"/>
                    </a:cubicBezTo>
                    <a:cubicBezTo>
                      <a:pt x="1828171" y="2633660"/>
                      <a:pt x="1843088" y="2648552"/>
                      <a:pt x="1843088" y="2663443"/>
                    </a:cubicBezTo>
                    <a:cubicBezTo>
                      <a:pt x="1843088" y="2940427"/>
                      <a:pt x="1843088" y="2940427"/>
                      <a:pt x="1843088" y="2940427"/>
                    </a:cubicBezTo>
                    <a:cubicBezTo>
                      <a:pt x="1843088" y="2958297"/>
                      <a:pt x="1828171" y="2970210"/>
                      <a:pt x="1813254" y="2970210"/>
                    </a:cubicBezTo>
                    <a:cubicBezTo>
                      <a:pt x="1526847" y="2970210"/>
                      <a:pt x="1526847" y="2970210"/>
                      <a:pt x="1526847" y="2970210"/>
                    </a:cubicBezTo>
                    <a:cubicBezTo>
                      <a:pt x="1508946" y="2970210"/>
                      <a:pt x="1497013" y="2958297"/>
                      <a:pt x="1497013" y="2940427"/>
                    </a:cubicBezTo>
                    <a:cubicBezTo>
                      <a:pt x="1497013" y="2663443"/>
                      <a:pt x="1497013" y="2663443"/>
                      <a:pt x="1497013" y="2663443"/>
                    </a:cubicBezTo>
                    <a:cubicBezTo>
                      <a:pt x="1497013" y="2648552"/>
                      <a:pt x="1508946" y="2633660"/>
                      <a:pt x="1526847" y="2633660"/>
                    </a:cubicBezTo>
                    <a:close/>
                    <a:moveTo>
                      <a:pt x="1039329" y="2633660"/>
                    </a:moveTo>
                    <a:cubicBezTo>
                      <a:pt x="1321283" y="2633660"/>
                      <a:pt x="1321283" y="2633660"/>
                      <a:pt x="1321283" y="2633660"/>
                    </a:cubicBezTo>
                    <a:cubicBezTo>
                      <a:pt x="1339091" y="2633660"/>
                      <a:pt x="1350963" y="2648552"/>
                      <a:pt x="1350963" y="2663443"/>
                    </a:cubicBezTo>
                    <a:cubicBezTo>
                      <a:pt x="1350963" y="2940427"/>
                      <a:pt x="1350963" y="2940427"/>
                      <a:pt x="1350963" y="2940427"/>
                    </a:cubicBezTo>
                    <a:cubicBezTo>
                      <a:pt x="1350963" y="2958297"/>
                      <a:pt x="1339091" y="2970210"/>
                      <a:pt x="1321283" y="2970210"/>
                    </a:cubicBezTo>
                    <a:cubicBezTo>
                      <a:pt x="1039329" y="2970210"/>
                      <a:pt x="1039329" y="2970210"/>
                      <a:pt x="1039329" y="2970210"/>
                    </a:cubicBezTo>
                    <a:cubicBezTo>
                      <a:pt x="1024489" y="2970210"/>
                      <a:pt x="1009650" y="2958297"/>
                      <a:pt x="1009650" y="2940427"/>
                    </a:cubicBezTo>
                    <a:cubicBezTo>
                      <a:pt x="1009650" y="2663443"/>
                      <a:pt x="1009650" y="2663443"/>
                      <a:pt x="1009650" y="2663443"/>
                    </a:cubicBezTo>
                    <a:cubicBezTo>
                      <a:pt x="1009650" y="2648552"/>
                      <a:pt x="1024489" y="2633660"/>
                      <a:pt x="1039329" y="2633660"/>
                    </a:cubicBezTo>
                    <a:close/>
                    <a:moveTo>
                      <a:pt x="544167" y="2633660"/>
                    </a:moveTo>
                    <a:cubicBezTo>
                      <a:pt x="827432" y="2633660"/>
                      <a:pt x="827432" y="2633660"/>
                      <a:pt x="827432" y="2633660"/>
                    </a:cubicBezTo>
                    <a:cubicBezTo>
                      <a:pt x="842341" y="2633660"/>
                      <a:pt x="857250" y="2648552"/>
                      <a:pt x="857250" y="2663443"/>
                    </a:cubicBezTo>
                    <a:cubicBezTo>
                      <a:pt x="857250" y="2940427"/>
                      <a:pt x="857250" y="2940427"/>
                      <a:pt x="857250" y="2940427"/>
                    </a:cubicBezTo>
                    <a:cubicBezTo>
                      <a:pt x="857250" y="2958297"/>
                      <a:pt x="842341" y="2970210"/>
                      <a:pt x="827432" y="2970210"/>
                    </a:cubicBezTo>
                    <a:cubicBezTo>
                      <a:pt x="544167" y="2970210"/>
                      <a:pt x="544167" y="2970210"/>
                      <a:pt x="544167" y="2970210"/>
                    </a:cubicBezTo>
                    <a:cubicBezTo>
                      <a:pt x="526277" y="2970210"/>
                      <a:pt x="514350" y="2958297"/>
                      <a:pt x="514350" y="2940427"/>
                    </a:cubicBezTo>
                    <a:cubicBezTo>
                      <a:pt x="514350" y="2663443"/>
                      <a:pt x="514350" y="2663443"/>
                      <a:pt x="514350" y="2663443"/>
                    </a:cubicBezTo>
                    <a:cubicBezTo>
                      <a:pt x="514350" y="2648552"/>
                      <a:pt x="526277" y="2633660"/>
                      <a:pt x="544167" y="2633660"/>
                    </a:cubicBezTo>
                    <a:close/>
                    <a:moveTo>
                      <a:pt x="3757130" y="2157410"/>
                    </a:moveTo>
                    <a:cubicBezTo>
                      <a:pt x="4039084" y="2157410"/>
                      <a:pt x="4039084" y="2157410"/>
                      <a:pt x="4039084" y="2157410"/>
                    </a:cubicBezTo>
                    <a:cubicBezTo>
                      <a:pt x="4056891" y="2157410"/>
                      <a:pt x="4068763" y="2169337"/>
                      <a:pt x="4068763" y="2187228"/>
                    </a:cubicBezTo>
                    <a:cubicBezTo>
                      <a:pt x="4068763" y="2470493"/>
                      <a:pt x="4068763" y="2470493"/>
                      <a:pt x="4068763" y="2470493"/>
                    </a:cubicBezTo>
                    <a:cubicBezTo>
                      <a:pt x="4068763" y="2485401"/>
                      <a:pt x="4056891" y="2500310"/>
                      <a:pt x="4039084" y="2500310"/>
                    </a:cubicBezTo>
                    <a:cubicBezTo>
                      <a:pt x="3757130" y="2500310"/>
                      <a:pt x="3757130" y="2500310"/>
                      <a:pt x="3757130" y="2500310"/>
                    </a:cubicBezTo>
                    <a:cubicBezTo>
                      <a:pt x="3742290" y="2500310"/>
                      <a:pt x="3727450" y="2485401"/>
                      <a:pt x="3727450" y="2470493"/>
                    </a:cubicBezTo>
                    <a:cubicBezTo>
                      <a:pt x="3727450" y="2187228"/>
                      <a:pt x="3727450" y="2187228"/>
                      <a:pt x="3727450" y="2187228"/>
                    </a:cubicBezTo>
                    <a:cubicBezTo>
                      <a:pt x="3727450" y="2169337"/>
                      <a:pt x="3742290" y="2157410"/>
                      <a:pt x="3757130" y="2157410"/>
                    </a:cubicBezTo>
                    <a:close/>
                    <a:moveTo>
                      <a:pt x="3274530" y="2157410"/>
                    </a:moveTo>
                    <a:cubicBezTo>
                      <a:pt x="3556484" y="2157410"/>
                      <a:pt x="3556484" y="2157410"/>
                      <a:pt x="3556484" y="2157410"/>
                    </a:cubicBezTo>
                    <a:cubicBezTo>
                      <a:pt x="3571324" y="2157410"/>
                      <a:pt x="3586163" y="2169337"/>
                      <a:pt x="3586163" y="2187228"/>
                    </a:cubicBezTo>
                    <a:cubicBezTo>
                      <a:pt x="3586163" y="2470493"/>
                      <a:pt x="3586163" y="2470493"/>
                      <a:pt x="3586163" y="2470493"/>
                    </a:cubicBezTo>
                    <a:cubicBezTo>
                      <a:pt x="3586163" y="2485401"/>
                      <a:pt x="3571324" y="2500310"/>
                      <a:pt x="3556484" y="2500310"/>
                    </a:cubicBezTo>
                    <a:cubicBezTo>
                      <a:pt x="3274530" y="2500310"/>
                      <a:pt x="3274530" y="2500310"/>
                      <a:pt x="3274530" y="2500310"/>
                    </a:cubicBezTo>
                    <a:cubicBezTo>
                      <a:pt x="3256722" y="2500310"/>
                      <a:pt x="3244850" y="2485401"/>
                      <a:pt x="3244850" y="2470493"/>
                    </a:cubicBezTo>
                    <a:cubicBezTo>
                      <a:pt x="3244850" y="2187228"/>
                      <a:pt x="3244850" y="2187228"/>
                      <a:pt x="3244850" y="2187228"/>
                    </a:cubicBezTo>
                    <a:cubicBezTo>
                      <a:pt x="3244850" y="2169337"/>
                      <a:pt x="3256722" y="2157410"/>
                      <a:pt x="3274530" y="2157410"/>
                    </a:cubicBezTo>
                    <a:close/>
                    <a:moveTo>
                      <a:pt x="2774468" y="2157410"/>
                    </a:moveTo>
                    <a:cubicBezTo>
                      <a:pt x="3056422" y="2157410"/>
                      <a:pt x="3056422" y="2157410"/>
                      <a:pt x="3056422" y="2157410"/>
                    </a:cubicBezTo>
                    <a:cubicBezTo>
                      <a:pt x="3074229" y="2157410"/>
                      <a:pt x="3086101" y="2169337"/>
                      <a:pt x="3086101" y="2187228"/>
                    </a:cubicBezTo>
                    <a:cubicBezTo>
                      <a:pt x="3086101" y="2470493"/>
                      <a:pt x="3086101" y="2470493"/>
                      <a:pt x="3086101" y="2470493"/>
                    </a:cubicBezTo>
                    <a:cubicBezTo>
                      <a:pt x="3086101" y="2485401"/>
                      <a:pt x="3074229" y="2500310"/>
                      <a:pt x="3056422" y="2500310"/>
                    </a:cubicBezTo>
                    <a:cubicBezTo>
                      <a:pt x="2774468" y="2500310"/>
                      <a:pt x="2774468" y="2500310"/>
                      <a:pt x="2774468" y="2500310"/>
                    </a:cubicBezTo>
                    <a:cubicBezTo>
                      <a:pt x="2759628" y="2500310"/>
                      <a:pt x="2744788" y="2485401"/>
                      <a:pt x="2744788" y="2470493"/>
                    </a:cubicBezTo>
                    <a:cubicBezTo>
                      <a:pt x="2744788" y="2187228"/>
                      <a:pt x="2744788" y="2187228"/>
                      <a:pt x="2744788" y="2187228"/>
                    </a:cubicBezTo>
                    <a:cubicBezTo>
                      <a:pt x="2744788" y="2169337"/>
                      <a:pt x="2759628" y="2157410"/>
                      <a:pt x="2774468" y="2157410"/>
                    </a:cubicBezTo>
                    <a:close/>
                    <a:moveTo>
                      <a:pt x="1526847" y="2157410"/>
                    </a:moveTo>
                    <a:cubicBezTo>
                      <a:pt x="1813254" y="2157410"/>
                      <a:pt x="1813254" y="2157410"/>
                      <a:pt x="1813254" y="2157410"/>
                    </a:cubicBezTo>
                    <a:cubicBezTo>
                      <a:pt x="1828171" y="2157410"/>
                      <a:pt x="1843088" y="2169337"/>
                      <a:pt x="1843088" y="2187228"/>
                    </a:cubicBezTo>
                    <a:cubicBezTo>
                      <a:pt x="1843088" y="2470493"/>
                      <a:pt x="1843088" y="2470493"/>
                      <a:pt x="1843088" y="2470493"/>
                    </a:cubicBezTo>
                    <a:cubicBezTo>
                      <a:pt x="1843088" y="2485401"/>
                      <a:pt x="1828171" y="2500310"/>
                      <a:pt x="1813254" y="2500310"/>
                    </a:cubicBezTo>
                    <a:cubicBezTo>
                      <a:pt x="1526847" y="2500310"/>
                      <a:pt x="1526847" y="2500310"/>
                      <a:pt x="1526847" y="2500310"/>
                    </a:cubicBezTo>
                    <a:cubicBezTo>
                      <a:pt x="1508946" y="2500310"/>
                      <a:pt x="1497013" y="2485401"/>
                      <a:pt x="1497013" y="2470493"/>
                    </a:cubicBezTo>
                    <a:cubicBezTo>
                      <a:pt x="1497013" y="2187228"/>
                      <a:pt x="1497013" y="2187228"/>
                      <a:pt x="1497013" y="2187228"/>
                    </a:cubicBezTo>
                    <a:cubicBezTo>
                      <a:pt x="1497013" y="2169337"/>
                      <a:pt x="1508946" y="2157410"/>
                      <a:pt x="1526847" y="2157410"/>
                    </a:cubicBezTo>
                    <a:close/>
                    <a:moveTo>
                      <a:pt x="1039329" y="2157410"/>
                    </a:moveTo>
                    <a:cubicBezTo>
                      <a:pt x="1321283" y="2157410"/>
                      <a:pt x="1321283" y="2157410"/>
                      <a:pt x="1321283" y="2157410"/>
                    </a:cubicBezTo>
                    <a:cubicBezTo>
                      <a:pt x="1339091" y="2157410"/>
                      <a:pt x="1350963" y="2169337"/>
                      <a:pt x="1350963" y="2187228"/>
                    </a:cubicBezTo>
                    <a:cubicBezTo>
                      <a:pt x="1350963" y="2470493"/>
                      <a:pt x="1350963" y="2470493"/>
                      <a:pt x="1350963" y="2470493"/>
                    </a:cubicBezTo>
                    <a:cubicBezTo>
                      <a:pt x="1350963" y="2485401"/>
                      <a:pt x="1339091" y="2500310"/>
                      <a:pt x="1321283" y="2500310"/>
                    </a:cubicBezTo>
                    <a:cubicBezTo>
                      <a:pt x="1039329" y="2500310"/>
                      <a:pt x="1039329" y="2500310"/>
                      <a:pt x="1039329" y="2500310"/>
                    </a:cubicBezTo>
                    <a:cubicBezTo>
                      <a:pt x="1024489" y="2500310"/>
                      <a:pt x="1009650" y="2485401"/>
                      <a:pt x="1009650" y="2470493"/>
                    </a:cubicBezTo>
                    <a:cubicBezTo>
                      <a:pt x="1009650" y="2187228"/>
                      <a:pt x="1009650" y="2187228"/>
                      <a:pt x="1009650" y="2187228"/>
                    </a:cubicBezTo>
                    <a:cubicBezTo>
                      <a:pt x="1009650" y="2169337"/>
                      <a:pt x="1024489" y="2157410"/>
                      <a:pt x="1039329" y="2157410"/>
                    </a:cubicBezTo>
                    <a:close/>
                    <a:moveTo>
                      <a:pt x="544167" y="2157410"/>
                    </a:moveTo>
                    <a:cubicBezTo>
                      <a:pt x="827432" y="2157410"/>
                      <a:pt x="827432" y="2157410"/>
                      <a:pt x="827432" y="2157410"/>
                    </a:cubicBezTo>
                    <a:cubicBezTo>
                      <a:pt x="842341" y="2157410"/>
                      <a:pt x="857250" y="2169337"/>
                      <a:pt x="857250" y="2187228"/>
                    </a:cubicBezTo>
                    <a:cubicBezTo>
                      <a:pt x="857250" y="2470493"/>
                      <a:pt x="857250" y="2470493"/>
                      <a:pt x="857250" y="2470493"/>
                    </a:cubicBezTo>
                    <a:cubicBezTo>
                      <a:pt x="857250" y="2485401"/>
                      <a:pt x="842341" y="2500310"/>
                      <a:pt x="827432" y="2500310"/>
                    </a:cubicBezTo>
                    <a:cubicBezTo>
                      <a:pt x="544167" y="2500310"/>
                      <a:pt x="544167" y="2500310"/>
                      <a:pt x="544167" y="2500310"/>
                    </a:cubicBezTo>
                    <a:cubicBezTo>
                      <a:pt x="526277" y="2500310"/>
                      <a:pt x="514350" y="2485401"/>
                      <a:pt x="514350" y="2470493"/>
                    </a:cubicBezTo>
                    <a:cubicBezTo>
                      <a:pt x="514350" y="2187228"/>
                      <a:pt x="514350" y="2187228"/>
                      <a:pt x="514350" y="2187228"/>
                    </a:cubicBezTo>
                    <a:cubicBezTo>
                      <a:pt x="514350" y="2169337"/>
                      <a:pt x="526277" y="2157410"/>
                      <a:pt x="544167" y="2157410"/>
                    </a:cubicBezTo>
                    <a:close/>
                    <a:moveTo>
                      <a:pt x="2274189" y="1470023"/>
                    </a:moveTo>
                    <a:cubicBezTo>
                      <a:pt x="2253298" y="1470023"/>
                      <a:pt x="2238375" y="1484883"/>
                      <a:pt x="2238375" y="1505687"/>
                    </a:cubicBezTo>
                    <a:cubicBezTo>
                      <a:pt x="2238375" y="1505687"/>
                      <a:pt x="2238375" y="1505687"/>
                      <a:pt x="2238375" y="1689948"/>
                    </a:cubicBezTo>
                    <a:cubicBezTo>
                      <a:pt x="2238375" y="1710751"/>
                      <a:pt x="2253298" y="1725611"/>
                      <a:pt x="2274189" y="1725611"/>
                    </a:cubicBezTo>
                    <a:cubicBezTo>
                      <a:pt x="2274189" y="1725611"/>
                      <a:pt x="2274189" y="1725611"/>
                      <a:pt x="2429384" y="1725611"/>
                    </a:cubicBezTo>
                    <a:cubicBezTo>
                      <a:pt x="2444306" y="1725611"/>
                      <a:pt x="2462213" y="1710751"/>
                      <a:pt x="2462213" y="1689948"/>
                    </a:cubicBezTo>
                    <a:cubicBezTo>
                      <a:pt x="2462213" y="1669144"/>
                      <a:pt x="2444306" y="1654284"/>
                      <a:pt x="2429384" y="1654284"/>
                    </a:cubicBezTo>
                    <a:cubicBezTo>
                      <a:pt x="2429384" y="1654284"/>
                      <a:pt x="2429384" y="1654284"/>
                      <a:pt x="2310003" y="1654284"/>
                    </a:cubicBezTo>
                    <a:cubicBezTo>
                      <a:pt x="2310003" y="1654284"/>
                      <a:pt x="2310003" y="1654284"/>
                      <a:pt x="2310003" y="1505687"/>
                    </a:cubicBezTo>
                    <a:cubicBezTo>
                      <a:pt x="2310003" y="1484883"/>
                      <a:pt x="2295081" y="1470023"/>
                      <a:pt x="2274189" y="1470023"/>
                    </a:cubicBezTo>
                    <a:close/>
                    <a:moveTo>
                      <a:pt x="2286000" y="1389060"/>
                    </a:moveTo>
                    <a:cubicBezTo>
                      <a:pt x="2443815" y="1389060"/>
                      <a:pt x="2571750" y="1518416"/>
                      <a:pt x="2571750" y="1677985"/>
                    </a:cubicBezTo>
                    <a:cubicBezTo>
                      <a:pt x="2571750" y="1837554"/>
                      <a:pt x="2443815" y="1966910"/>
                      <a:pt x="2286000" y="1966910"/>
                    </a:cubicBezTo>
                    <a:cubicBezTo>
                      <a:pt x="2128185" y="1966910"/>
                      <a:pt x="2000250" y="1837554"/>
                      <a:pt x="2000250" y="1677985"/>
                    </a:cubicBezTo>
                    <a:cubicBezTo>
                      <a:pt x="2000250" y="1518416"/>
                      <a:pt x="2128185" y="1389060"/>
                      <a:pt x="2286000" y="1389060"/>
                    </a:cubicBezTo>
                    <a:close/>
                    <a:moveTo>
                      <a:pt x="2232618" y="0"/>
                    </a:moveTo>
                    <a:cubicBezTo>
                      <a:pt x="2232618" y="0"/>
                      <a:pt x="2232618" y="0"/>
                      <a:pt x="2327848" y="0"/>
                    </a:cubicBezTo>
                    <a:cubicBezTo>
                      <a:pt x="2327848" y="0"/>
                      <a:pt x="2327848" y="0"/>
                      <a:pt x="3119444" y="0"/>
                    </a:cubicBezTo>
                    <a:cubicBezTo>
                      <a:pt x="3134323" y="0"/>
                      <a:pt x="3143251" y="17832"/>
                      <a:pt x="3131348" y="29720"/>
                    </a:cubicBezTo>
                    <a:cubicBezTo>
                      <a:pt x="3131348" y="29720"/>
                      <a:pt x="3131348" y="29720"/>
                      <a:pt x="2928985" y="231817"/>
                    </a:cubicBezTo>
                    <a:cubicBezTo>
                      <a:pt x="2923033" y="237761"/>
                      <a:pt x="2923033" y="249649"/>
                      <a:pt x="2928985" y="255593"/>
                    </a:cubicBezTo>
                    <a:cubicBezTo>
                      <a:pt x="2928985" y="255593"/>
                      <a:pt x="2928985" y="255593"/>
                      <a:pt x="3131348" y="457689"/>
                    </a:cubicBezTo>
                    <a:cubicBezTo>
                      <a:pt x="3143251" y="469577"/>
                      <a:pt x="3134323" y="487409"/>
                      <a:pt x="3119444" y="487409"/>
                    </a:cubicBezTo>
                    <a:cubicBezTo>
                      <a:pt x="3119444" y="487409"/>
                      <a:pt x="3119444" y="487409"/>
                      <a:pt x="2360583" y="487409"/>
                    </a:cubicBezTo>
                    <a:cubicBezTo>
                      <a:pt x="2351655" y="487409"/>
                      <a:pt x="2345703" y="493353"/>
                      <a:pt x="2345703" y="502270"/>
                    </a:cubicBezTo>
                    <a:cubicBezTo>
                      <a:pt x="2345703" y="502270"/>
                      <a:pt x="2345703" y="502270"/>
                      <a:pt x="2345703" y="894575"/>
                    </a:cubicBezTo>
                    <a:cubicBezTo>
                      <a:pt x="2345703" y="894575"/>
                      <a:pt x="2345703" y="894575"/>
                      <a:pt x="2324872" y="879715"/>
                    </a:cubicBezTo>
                    <a:cubicBezTo>
                      <a:pt x="2304040" y="861883"/>
                      <a:pt x="2271305" y="861883"/>
                      <a:pt x="2250473" y="879715"/>
                    </a:cubicBezTo>
                    <a:cubicBezTo>
                      <a:pt x="2250473" y="879715"/>
                      <a:pt x="2250473" y="879715"/>
                      <a:pt x="2217738" y="906463"/>
                    </a:cubicBezTo>
                    <a:cubicBezTo>
                      <a:pt x="2217738" y="906463"/>
                      <a:pt x="2217738" y="906463"/>
                      <a:pt x="2217738" y="487409"/>
                    </a:cubicBezTo>
                    <a:cubicBezTo>
                      <a:pt x="2217738" y="487409"/>
                      <a:pt x="2217738" y="487409"/>
                      <a:pt x="2217738" y="17832"/>
                    </a:cubicBezTo>
                    <a:cubicBezTo>
                      <a:pt x="2217738" y="8916"/>
                      <a:pt x="2223690" y="0"/>
                      <a:pt x="2232618" y="0"/>
                    </a:cubicBezTo>
                    <a:close/>
                  </a:path>
                </a:pathLst>
              </a:custGeom>
              <a:solidFill>
                <a:srgbClr val="6E6F73"/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351" dirty="0">
                  <a:latin typeface="PT Sans Caption"/>
                  <a:cs typeface="+mn-cs"/>
                </a:endParaRPr>
              </a:p>
            </p:txBody>
          </p:sp>
          <p:sp>
            <p:nvSpPr>
              <p:cNvPr id="24" name="Freeform 23"/>
              <p:cNvSpPr>
                <a:spLocks/>
              </p:cNvSpPr>
              <p:nvPr/>
            </p:nvSpPr>
            <p:spPr bwMode="auto">
              <a:xfrm>
                <a:off x="5389962" y="3032063"/>
                <a:ext cx="1412074" cy="1018302"/>
              </a:xfrm>
              <a:custGeom>
                <a:avLst/>
                <a:gdLst>
                  <a:gd name="connsiteX0" fmla="*/ 65471 w 5886450"/>
                  <a:gd name="connsiteY0" fmla="*/ 3918893 h 4228456"/>
                  <a:gd name="connsiteX1" fmla="*/ 5820979 w 5886450"/>
                  <a:gd name="connsiteY1" fmla="*/ 3918893 h 4228456"/>
                  <a:gd name="connsiteX2" fmla="*/ 5886450 w 5886450"/>
                  <a:gd name="connsiteY2" fmla="*/ 3984378 h 4228456"/>
                  <a:gd name="connsiteX3" fmla="*/ 5886450 w 5886450"/>
                  <a:gd name="connsiteY3" fmla="*/ 4162972 h 4228456"/>
                  <a:gd name="connsiteX4" fmla="*/ 5820979 w 5886450"/>
                  <a:gd name="connsiteY4" fmla="*/ 4228456 h 4228456"/>
                  <a:gd name="connsiteX5" fmla="*/ 65471 w 5886450"/>
                  <a:gd name="connsiteY5" fmla="*/ 4228456 h 4228456"/>
                  <a:gd name="connsiteX6" fmla="*/ 0 w 5886450"/>
                  <a:gd name="connsiteY6" fmla="*/ 4162972 h 4228456"/>
                  <a:gd name="connsiteX7" fmla="*/ 0 w 5886450"/>
                  <a:gd name="connsiteY7" fmla="*/ 3984378 h 4228456"/>
                  <a:gd name="connsiteX8" fmla="*/ 65471 w 5886450"/>
                  <a:gd name="connsiteY8" fmla="*/ 3918893 h 4228456"/>
                  <a:gd name="connsiteX9" fmla="*/ 2931122 w 5886450"/>
                  <a:gd name="connsiteY9" fmla="*/ 137468 h 4228456"/>
                  <a:gd name="connsiteX10" fmla="*/ 1020597 w 5886450"/>
                  <a:gd name="connsiteY10" fmla="*/ 1087152 h 4228456"/>
                  <a:gd name="connsiteX11" fmla="*/ 1020597 w 5886450"/>
                  <a:gd name="connsiteY11" fmla="*/ 2033858 h 4228456"/>
                  <a:gd name="connsiteX12" fmla="*/ 282575 w 5886450"/>
                  <a:gd name="connsiteY12" fmla="*/ 2033858 h 4228456"/>
                  <a:gd name="connsiteX13" fmla="*/ 282575 w 5886450"/>
                  <a:gd name="connsiteY13" fmla="*/ 3671243 h 4228456"/>
                  <a:gd name="connsiteX14" fmla="*/ 5597525 w 5886450"/>
                  <a:gd name="connsiteY14" fmla="*/ 3671243 h 4228456"/>
                  <a:gd name="connsiteX15" fmla="*/ 5597525 w 5886450"/>
                  <a:gd name="connsiteY15" fmla="*/ 2033858 h 4228456"/>
                  <a:gd name="connsiteX16" fmla="*/ 4859503 w 5886450"/>
                  <a:gd name="connsiteY16" fmla="*/ 2033858 h 4228456"/>
                  <a:gd name="connsiteX17" fmla="*/ 4859503 w 5886450"/>
                  <a:gd name="connsiteY17" fmla="*/ 1087152 h 4228456"/>
                  <a:gd name="connsiteX18" fmla="*/ 2931122 w 5886450"/>
                  <a:gd name="connsiteY18" fmla="*/ 137468 h 4228456"/>
                  <a:gd name="connsiteX19" fmla="*/ 2932609 w 5886450"/>
                  <a:gd name="connsiteY19" fmla="*/ 0 h 4228456"/>
                  <a:gd name="connsiteX20" fmla="*/ 2960888 w 5886450"/>
                  <a:gd name="connsiteY20" fmla="*/ 6697 h 4228456"/>
                  <a:gd name="connsiteX21" fmla="*/ 4913652 w 5886450"/>
                  <a:gd name="connsiteY21" fmla="*/ 965050 h 4228456"/>
                  <a:gd name="connsiteX22" fmla="*/ 4916629 w 5886450"/>
                  <a:gd name="connsiteY22" fmla="*/ 968026 h 4228456"/>
                  <a:gd name="connsiteX23" fmla="*/ 4991048 w 5886450"/>
                  <a:gd name="connsiteY23" fmla="*/ 1087076 h 4228456"/>
                  <a:gd name="connsiteX24" fmla="*/ 4991048 w 5886450"/>
                  <a:gd name="connsiteY24" fmla="*/ 1902569 h 4228456"/>
                  <a:gd name="connsiteX25" fmla="*/ 5598310 w 5886450"/>
                  <a:gd name="connsiteY25" fmla="*/ 1902569 h 4228456"/>
                  <a:gd name="connsiteX26" fmla="*/ 5729288 w 5886450"/>
                  <a:gd name="connsiteY26" fmla="*/ 2033525 h 4228456"/>
                  <a:gd name="connsiteX27" fmla="*/ 5729288 w 5886450"/>
                  <a:gd name="connsiteY27" fmla="*/ 3670463 h 4228456"/>
                  <a:gd name="connsiteX28" fmla="*/ 5598310 w 5886450"/>
                  <a:gd name="connsiteY28" fmla="*/ 3801418 h 4228456"/>
                  <a:gd name="connsiteX29" fmla="*/ 281791 w 5886450"/>
                  <a:gd name="connsiteY29" fmla="*/ 3801418 h 4228456"/>
                  <a:gd name="connsiteX30" fmla="*/ 150813 w 5886450"/>
                  <a:gd name="connsiteY30" fmla="*/ 3670463 h 4228456"/>
                  <a:gd name="connsiteX31" fmla="*/ 150813 w 5886450"/>
                  <a:gd name="connsiteY31" fmla="*/ 2033525 h 4228456"/>
                  <a:gd name="connsiteX32" fmla="*/ 281791 w 5886450"/>
                  <a:gd name="connsiteY32" fmla="*/ 1902569 h 4228456"/>
                  <a:gd name="connsiteX33" fmla="*/ 889053 w 5886450"/>
                  <a:gd name="connsiteY33" fmla="*/ 1902569 h 4228456"/>
                  <a:gd name="connsiteX34" fmla="*/ 889053 w 5886450"/>
                  <a:gd name="connsiteY34" fmla="*/ 1087076 h 4228456"/>
                  <a:gd name="connsiteX35" fmla="*/ 963473 w 5886450"/>
                  <a:gd name="connsiteY35" fmla="*/ 968026 h 4228456"/>
                  <a:gd name="connsiteX36" fmla="*/ 966449 w 5886450"/>
                  <a:gd name="connsiteY36" fmla="*/ 968026 h 4228456"/>
                  <a:gd name="connsiteX37" fmla="*/ 2904329 w 5886450"/>
                  <a:gd name="connsiteY37" fmla="*/ 6697 h 4228456"/>
                  <a:gd name="connsiteX38" fmla="*/ 2932609 w 5886450"/>
                  <a:gd name="connsiteY38" fmla="*/ 0 h 4228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5886450" h="4228456">
                    <a:moveTo>
                      <a:pt x="65471" y="3918893"/>
                    </a:moveTo>
                    <a:cubicBezTo>
                      <a:pt x="5820979" y="3918893"/>
                      <a:pt x="5820979" y="3918893"/>
                      <a:pt x="5820979" y="3918893"/>
                    </a:cubicBezTo>
                    <a:cubicBezTo>
                      <a:pt x="5856691" y="3918893"/>
                      <a:pt x="5886450" y="3945682"/>
                      <a:pt x="5886450" y="3984378"/>
                    </a:cubicBezTo>
                    <a:cubicBezTo>
                      <a:pt x="5886450" y="4162972"/>
                      <a:pt x="5886450" y="4162972"/>
                      <a:pt x="5886450" y="4162972"/>
                    </a:cubicBezTo>
                    <a:cubicBezTo>
                      <a:pt x="5886450" y="4198691"/>
                      <a:pt x="5856691" y="4228456"/>
                      <a:pt x="5820979" y="4228456"/>
                    </a:cubicBezTo>
                    <a:cubicBezTo>
                      <a:pt x="65471" y="4228456"/>
                      <a:pt x="65471" y="4228456"/>
                      <a:pt x="65471" y="4228456"/>
                    </a:cubicBezTo>
                    <a:cubicBezTo>
                      <a:pt x="29760" y="4228456"/>
                      <a:pt x="0" y="4198691"/>
                      <a:pt x="0" y="4162972"/>
                    </a:cubicBezTo>
                    <a:cubicBezTo>
                      <a:pt x="0" y="3984378"/>
                      <a:pt x="0" y="3984378"/>
                      <a:pt x="0" y="3984378"/>
                    </a:cubicBezTo>
                    <a:cubicBezTo>
                      <a:pt x="0" y="3945682"/>
                      <a:pt x="29760" y="3918893"/>
                      <a:pt x="65471" y="3918893"/>
                    </a:cubicBezTo>
                    <a:close/>
                    <a:moveTo>
                      <a:pt x="2931122" y="137468"/>
                    </a:moveTo>
                    <a:cubicBezTo>
                      <a:pt x="2931122" y="137468"/>
                      <a:pt x="2931122" y="137468"/>
                      <a:pt x="1020597" y="1087152"/>
                    </a:cubicBezTo>
                    <a:cubicBezTo>
                      <a:pt x="1020597" y="1087152"/>
                      <a:pt x="1020597" y="1087152"/>
                      <a:pt x="1020597" y="2033858"/>
                    </a:cubicBezTo>
                    <a:cubicBezTo>
                      <a:pt x="1020597" y="2033858"/>
                      <a:pt x="1020597" y="2033858"/>
                      <a:pt x="282575" y="2033858"/>
                    </a:cubicBezTo>
                    <a:cubicBezTo>
                      <a:pt x="282575" y="2033858"/>
                      <a:pt x="282575" y="2033858"/>
                      <a:pt x="282575" y="3671243"/>
                    </a:cubicBezTo>
                    <a:cubicBezTo>
                      <a:pt x="282575" y="3671243"/>
                      <a:pt x="282575" y="3671243"/>
                      <a:pt x="5597525" y="3671243"/>
                    </a:cubicBezTo>
                    <a:cubicBezTo>
                      <a:pt x="5597525" y="3671243"/>
                      <a:pt x="5597525" y="3671243"/>
                      <a:pt x="5597525" y="2033858"/>
                    </a:cubicBezTo>
                    <a:cubicBezTo>
                      <a:pt x="5597525" y="2033858"/>
                      <a:pt x="5597525" y="2033858"/>
                      <a:pt x="4859503" y="2033858"/>
                    </a:cubicBezTo>
                    <a:cubicBezTo>
                      <a:pt x="4859503" y="2033858"/>
                      <a:pt x="4859503" y="2033858"/>
                      <a:pt x="4859503" y="1087152"/>
                    </a:cubicBezTo>
                    <a:cubicBezTo>
                      <a:pt x="4859503" y="1087152"/>
                      <a:pt x="4859503" y="1087152"/>
                      <a:pt x="2931122" y="137468"/>
                    </a:cubicBezTo>
                    <a:close/>
                    <a:moveTo>
                      <a:pt x="2932609" y="0"/>
                    </a:moveTo>
                    <a:cubicBezTo>
                      <a:pt x="2942283" y="0"/>
                      <a:pt x="2951958" y="2232"/>
                      <a:pt x="2960888" y="6697"/>
                    </a:cubicBezTo>
                    <a:cubicBezTo>
                      <a:pt x="2960888" y="6697"/>
                      <a:pt x="2960888" y="6697"/>
                      <a:pt x="4913652" y="965050"/>
                    </a:cubicBezTo>
                    <a:cubicBezTo>
                      <a:pt x="4913652" y="965050"/>
                      <a:pt x="4913652" y="965050"/>
                      <a:pt x="4916629" y="968026"/>
                    </a:cubicBezTo>
                    <a:cubicBezTo>
                      <a:pt x="4961280" y="988860"/>
                      <a:pt x="4991048" y="1033504"/>
                      <a:pt x="4991048" y="1087076"/>
                    </a:cubicBezTo>
                    <a:cubicBezTo>
                      <a:pt x="4991048" y="1087076"/>
                      <a:pt x="4991048" y="1087076"/>
                      <a:pt x="4991048" y="1902569"/>
                    </a:cubicBezTo>
                    <a:cubicBezTo>
                      <a:pt x="4991048" y="1902569"/>
                      <a:pt x="4991048" y="1902569"/>
                      <a:pt x="5598310" y="1902569"/>
                    </a:cubicBezTo>
                    <a:cubicBezTo>
                      <a:pt x="5669753" y="1902569"/>
                      <a:pt x="5729288" y="1962094"/>
                      <a:pt x="5729288" y="2033525"/>
                    </a:cubicBezTo>
                    <a:cubicBezTo>
                      <a:pt x="5729288" y="2033525"/>
                      <a:pt x="5729288" y="2033525"/>
                      <a:pt x="5729288" y="3670463"/>
                    </a:cubicBezTo>
                    <a:cubicBezTo>
                      <a:pt x="5729288" y="3741893"/>
                      <a:pt x="5669753" y="3801418"/>
                      <a:pt x="5598310" y="3801418"/>
                    </a:cubicBezTo>
                    <a:cubicBezTo>
                      <a:pt x="5598310" y="3801418"/>
                      <a:pt x="5598310" y="3801418"/>
                      <a:pt x="281791" y="3801418"/>
                    </a:cubicBezTo>
                    <a:cubicBezTo>
                      <a:pt x="210349" y="3801418"/>
                      <a:pt x="150813" y="3741893"/>
                      <a:pt x="150813" y="3670463"/>
                    </a:cubicBezTo>
                    <a:cubicBezTo>
                      <a:pt x="150813" y="3670463"/>
                      <a:pt x="150813" y="3670463"/>
                      <a:pt x="150813" y="2033525"/>
                    </a:cubicBezTo>
                    <a:cubicBezTo>
                      <a:pt x="150813" y="1962094"/>
                      <a:pt x="210349" y="1902569"/>
                      <a:pt x="281791" y="1902569"/>
                    </a:cubicBezTo>
                    <a:cubicBezTo>
                      <a:pt x="281791" y="1902569"/>
                      <a:pt x="281791" y="1902569"/>
                      <a:pt x="889053" y="1902569"/>
                    </a:cubicBezTo>
                    <a:cubicBezTo>
                      <a:pt x="889053" y="1902569"/>
                      <a:pt x="889053" y="1902569"/>
                      <a:pt x="889053" y="1087076"/>
                    </a:cubicBezTo>
                    <a:cubicBezTo>
                      <a:pt x="889053" y="1033504"/>
                      <a:pt x="918821" y="988860"/>
                      <a:pt x="963473" y="968026"/>
                    </a:cubicBezTo>
                    <a:cubicBezTo>
                      <a:pt x="963473" y="968026"/>
                      <a:pt x="963473" y="968026"/>
                      <a:pt x="966449" y="968026"/>
                    </a:cubicBezTo>
                    <a:cubicBezTo>
                      <a:pt x="966449" y="968026"/>
                      <a:pt x="966449" y="968026"/>
                      <a:pt x="2904329" y="6697"/>
                    </a:cubicBezTo>
                    <a:cubicBezTo>
                      <a:pt x="2913260" y="2232"/>
                      <a:pt x="2922934" y="0"/>
                      <a:pt x="2932609" y="0"/>
                    </a:cubicBezTo>
                    <a:close/>
                  </a:path>
                </a:pathLst>
              </a:custGeom>
              <a:solidFill>
                <a:srgbClr val="6E6F73"/>
              </a:solidFill>
              <a:ln>
                <a:noFill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351" dirty="0">
                  <a:latin typeface="PT Sans Caption"/>
                  <a:cs typeface="+mn-cs"/>
                </a:endParaRPr>
              </a:p>
            </p:txBody>
          </p:sp>
        </p:grpSp>
      </p:grpSp>
      <p:sp>
        <p:nvSpPr>
          <p:cNvPr id="71699" name="TextBox 24"/>
          <p:cNvSpPr txBox="1">
            <a:spLocks noChangeArrowheads="1"/>
          </p:cNvSpPr>
          <p:nvPr/>
        </p:nvSpPr>
        <p:spPr bwMode="auto">
          <a:xfrm>
            <a:off x="660400" y="4537075"/>
            <a:ext cx="3544888" cy="158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108000" bIns="0" anchor="ctr">
            <a:spAutoFit/>
          </a:bodyPr>
          <a:lstStyle/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Повышение конкурентоспособности “белых” участников рынка за счет сокращения доли незаконного оборота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Доступ к данным о движении продукции по логистической цепи в режиме реального времени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628650" y="4359275"/>
            <a:ext cx="2989263" cy="0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01" name="TextBox 26"/>
          <p:cNvSpPr txBox="1">
            <a:spLocks noChangeArrowheads="1"/>
          </p:cNvSpPr>
          <p:nvPr/>
        </p:nvSpPr>
        <p:spPr bwMode="auto">
          <a:xfrm>
            <a:off x="8504238" y="3417888"/>
            <a:ext cx="3425825" cy="281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108000" bIns="0">
            <a:spAutoFit/>
          </a:bodyPr>
          <a:lstStyle/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Сокращение нелегального оборота товаров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Повышение собираемости таможенных и налоговых, в т.ч. акцизных платежей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Повышение прозрачности товарных рынков и качества инструментов государственного контроля, в т.ч. экономия затрат бюджета на контроль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Статистика в масштабе всей страны в режиме реального времени</a:t>
            </a:r>
          </a:p>
        </p:txBody>
      </p: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8377238" y="3327400"/>
            <a:ext cx="3370262" cy="0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03" name="TextBox 28"/>
          <p:cNvSpPr txBox="1">
            <a:spLocks noChangeArrowheads="1"/>
          </p:cNvSpPr>
          <p:nvPr/>
        </p:nvSpPr>
        <p:spPr bwMode="auto">
          <a:xfrm>
            <a:off x="6553200" y="1506538"/>
            <a:ext cx="22860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000" tIns="0" rIns="0" bIns="0" anchor="ctr">
            <a:spAutoFit/>
          </a:bodyPr>
          <a:lstStyle/>
          <a:p>
            <a:pPr marL="0" lvl="3">
              <a:buSzPct val="100000"/>
              <a:buFont typeface="Trebuchet MS" pitchFamily="34" charset="0"/>
              <a:buChar char="​"/>
            </a:pPr>
            <a:r>
              <a:rPr lang="ru-RU" sz="2000" b="1">
                <a:solidFill>
                  <a:srgbClr val="595959"/>
                </a:solidFill>
                <a:latin typeface="PT Sans Caption"/>
                <a:ea typeface="Open Sans"/>
                <a:cs typeface="Open Sans"/>
              </a:rPr>
              <a:t>Потребитель</a:t>
            </a:r>
          </a:p>
        </p:txBody>
      </p:sp>
      <p:sp>
        <p:nvSpPr>
          <p:cNvPr id="71704" name="TextBox 29"/>
          <p:cNvSpPr txBox="1">
            <a:spLocks noChangeArrowheads="1"/>
          </p:cNvSpPr>
          <p:nvPr/>
        </p:nvSpPr>
        <p:spPr bwMode="auto">
          <a:xfrm>
            <a:off x="8504238" y="1500188"/>
            <a:ext cx="3151187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108000" bIns="0">
            <a:spAutoFit/>
          </a:bodyPr>
          <a:lstStyle/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Защита жизни и здоровья граждан</a:t>
            </a:r>
            <a:endParaRPr lang="ru-RU" sz="1600">
              <a:solidFill>
                <a:srgbClr val="575757"/>
              </a:solidFill>
              <a:latin typeface="PT Sans Caption"/>
            </a:endParaRPr>
          </a:p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Общественный контроль</a:t>
            </a:r>
          </a:p>
          <a:p>
            <a:pPr marL="285750" indent="-285750">
              <a:spcAft>
                <a:spcPts val="600"/>
              </a:spcAft>
              <a:buSzPct val="100000"/>
              <a:buFont typeface="Arial" charset="0"/>
              <a:buChar char="•"/>
            </a:pPr>
            <a:r>
              <a:rPr lang="ru-RU" sz="1400">
                <a:solidFill>
                  <a:srgbClr val="575757"/>
                </a:solidFill>
                <a:latin typeface="PT Sans Caption"/>
              </a:rPr>
              <a:t>Защита прав потребителей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8364538" y="1500188"/>
            <a:ext cx="0" cy="1016000"/>
          </a:xfrm>
          <a:prstGeom prst="line">
            <a:avLst/>
          </a:prstGeom>
          <a:ln w="22225" cap="rnd" cmpd="sng" algn="ctr">
            <a:solidFill>
              <a:srgbClr val="670F31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Shape 250"/>
          <p:cNvSpPr txBox="1"/>
          <p:nvPr/>
        </p:nvSpPr>
        <p:spPr>
          <a:xfrm>
            <a:off x="660400" y="1219200"/>
            <a:ext cx="3638550" cy="2300288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</a:extLst>
        </p:spPr>
        <p:txBody>
          <a:bodyPr spcFirstLastPara="1" lIns="121900" tIns="121900" rIns="121900" bIns="121900"/>
          <a:lstStyle/>
          <a:p>
            <a:pPr marL="9525" algn="ctr" fontAlgn="auto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defRPr/>
            </a:pPr>
            <a:r>
              <a:rPr lang="ru-RU" sz="2000" b="1" dirty="0">
                <a:solidFill>
                  <a:srgbClr val="595959"/>
                </a:solidFill>
                <a:latin typeface="PT Sans Caption"/>
                <a:ea typeface="Roboto"/>
                <a:cs typeface="Roboto"/>
                <a:sym typeface="Roboto"/>
              </a:rPr>
              <a:t>Цифровая платформа</a:t>
            </a:r>
            <a:endParaRPr sz="2000" b="1" dirty="0">
              <a:solidFill>
                <a:srgbClr val="595959"/>
              </a:solidFill>
              <a:latin typeface="PT Sans Caption"/>
              <a:ea typeface="Roboto"/>
              <a:cs typeface="Roboto"/>
              <a:sym typeface="Roboto"/>
            </a:endParaRPr>
          </a:p>
          <a:p>
            <a:pPr marL="171450" indent="-171450" fontAlgn="auto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da" sz="1400" b="1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Сервис и услуги</a:t>
            </a:r>
            <a:endParaRPr sz="1400" b="1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(лизинг, факторинг, страхование и т.д.)</a:t>
            </a:r>
            <a:endParaRPr sz="1200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da" sz="1400" b="1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Открытые данные и интерфейсы</a:t>
            </a:r>
            <a:endParaRPr sz="1400" b="1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(оценка рисков, проверка контрагентов,</a:t>
            </a:r>
            <a:r>
              <a:rPr lang="ru-RU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 </a:t>
            </a:r>
            <a:r>
              <a:rPr lang="da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мониторинг рынка и т.д.)</a:t>
            </a:r>
            <a:endParaRPr sz="1200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da" sz="1400" b="1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Новые возможности для бизнеса</a:t>
            </a:r>
            <a:endParaRPr sz="1400" b="1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8256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a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(подключение финансовых, транспортных, страховых, сервисных компаний и их услуг</a:t>
            </a:r>
            <a:r>
              <a:rPr lang="ru-RU" sz="1200" dirty="0">
                <a:solidFill>
                  <a:srgbClr val="595959"/>
                </a:solidFill>
                <a:latin typeface="PT Sans Caption"/>
                <a:ea typeface="Roboto Light"/>
                <a:cs typeface="Roboto Light"/>
                <a:sym typeface="Roboto Light"/>
              </a:rPr>
              <a:t>)</a:t>
            </a:r>
            <a:endParaRPr sz="1200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  <a:p>
            <a:pPr marL="171450" indent="-171450" algn="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sz="1100" dirty="0">
              <a:solidFill>
                <a:srgbClr val="595959"/>
              </a:solidFill>
              <a:latin typeface="PT Sans Caption"/>
              <a:ea typeface="Roboto Light"/>
              <a:cs typeface="Roboto Light"/>
              <a:sym typeface="Roboto Light"/>
            </a:endParaRPr>
          </a:p>
        </p:txBody>
      </p:sp>
      <p:cxnSp>
        <p:nvCxnSpPr>
          <p:cNvPr id="40" name="Straight Connector 39"/>
          <p:cNvCxnSpPr>
            <a:cxnSpLocks/>
          </p:cNvCxnSpPr>
          <p:nvPr/>
        </p:nvCxnSpPr>
        <p:spPr>
          <a:xfrm>
            <a:off x="6086475" y="2854325"/>
            <a:ext cx="9525" cy="561975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 flipH="1">
            <a:off x="5089525" y="4033838"/>
            <a:ext cx="519113" cy="357187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/>
          <p:nvPr/>
        </p:nvCxnSpPr>
        <p:spPr>
          <a:xfrm rot="10800000">
            <a:off x="2511425" y="3460750"/>
            <a:ext cx="3127375" cy="207963"/>
          </a:xfrm>
          <a:prstGeom prst="bentConnector2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6602413" y="4033838"/>
            <a:ext cx="520700" cy="357187"/>
          </a:xfrm>
          <a:prstGeom prst="line">
            <a:avLst/>
          </a:prstGeom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11" name="Picture 36"/>
          <p:cNvPicPr preferRelativeResize="0">
            <a:picLocks noChangeAspect="1" noChangeArrowheads="1"/>
          </p:cNvPicPr>
          <p:nvPr/>
        </p:nvPicPr>
        <p:blipFill>
          <a:blip r:embed="rId6"/>
          <a:srcRect l="-56" t="571" r="55" b="32591"/>
          <a:stretch>
            <a:fillRect/>
          </a:stretch>
        </p:blipFill>
        <p:spPr bwMode="auto">
          <a:xfrm>
            <a:off x="11366500" y="103188"/>
            <a:ext cx="731838" cy="94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630238" y="250825"/>
            <a:ext cx="10499725" cy="60007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839852" fontAlgn="auto">
              <a:defRPr/>
            </a:pPr>
            <a:r>
              <a:rPr lang="ru-RU" sz="2162" b="1" dirty="0">
                <a:latin typeface="PT Sans Caption"/>
                <a:sym typeface="+mj-lt"/>
              </a:rPr>
              <a:t>Цели и задачи создания системы маркировки</a:t>
            </a:r>
          </a:p>
          <a:p>
            <a:pPr defTabSz="839852" fontAlgn="auto">
              <a:defRPr/>
            </a:pPr>
            <a:r>
              <a:rPr lang="ru-RU" sz="2162" b="1" dirty="0">
                <a:latin typeface="PT Sans Caption"/>
                <a:sym typeface="+mj-lt"/>
              </a:rPr>
              <a:t>и прослеживаемости товаров</a:t>
            </a:r>
            <a:endParaRPr lang="en-US" sz="2162" b="1" dirty="0">
              <a:latin typeface="PT Sans Caption"/>
              <a:sym typeface="+mj-lt"/>
            </a:endParaRPr>
          </a:p>
        </p:txBody>
      </p:sp>
      <p:pic>
        <p:nvPicPr>
          <p:cNvPr id="46" name="Shape 247">
            <a:extLst>
              <a:ext uri="{FF2B5EF4-FFF2-40B4-BE49-F238E27FC236}"/>
            </a:extLst>
          </p:cNvPr>
          <p:cNvPicPr preferRelativeResize="0"/>
          <p:nvPr/>
        </p:nvPicPr>
        <p:blipFill rotWithShape="1">
          <a:blip r:embed="rId7">
            <a:alphaModFix/>
            <a:grayscl/>
          </a:blip>
          <a:srcRect l="42205" t="49494" r="44764" b="24172"/>
          <a:stretch/>
        </p:blipFill>
        <p:spPr>
          <a:xfrm>
            <a:off x="5575467" y="3507359"/>
            <a:ext cx="1042416" cy="1044000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08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2708" name="think-cell Slide" r:id="rId5" imgW="360" imgH="360" progId="">
              <p:embed/>
            </p:oleObj>
          </a:graphicData>
        </a:graphic>
      </p:graphicFrame>
      <p:sp>
        <p:nvSpPr>
          <p:cNvPr id="65" name="Freeform 64"/>
          <p:cNvSpPr/>
          <p:nvPr/>
        </p:nvSpPr>
        <p:spPr>
          <a:xfrm>
            <a:off x="4022725" y="2430463"/>
            <a:ext cx="2620963" cy="884237"/>
          </a:xfrm>
          <a:custGeom>
            <a:avLst/>
            <a:gdLst>
              <a:gd name="connsiteX0" fmla="*/ 0 w 2451100"/>
              <a:gd name="connsiteY0" fmla="*/ 304800 h 850900"/>
              <a:gd name="connsiteX1" fmla="*/ 965200 w 2451100"/>
              <a:gd name="connsiteY1" fmla="*/ 850900 h 850900"/>
              <a:gd name="connsiteX2" fmla="*/ 2451100 w 2451100"/>
              <a:gd name="connsiteY2" fmla="*/ 0 h 850900"/>
              <a:gd name="connsiteX0" fmla="*/ 0 w 2679700"/>
              <a:gd name="connsiteY0" fmla="*/ 464820 h 1010920"/>
              <a:gd name="connsiteX1" fmla="*/ 965200 w 2679700"/>
              <a:gd name="connsiteY1" fmla="*/ 1010920 h 1010920"/>
              <a:gd name="connsiteX2" fmla="*/ 2679700 w 2679700"/>
              <a:gd name="connsiteY2" fmla="*/ 0 h 1010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79700" h="1010920">
                <a:moveTo>
                  <a:pt x="0" y="464820"/>
                </a:moveTo>
                <a:lnTo>
                  <a:pt x="965200" y="1010920"/>
                </a:lnTo>
                <a:lnTo>
                  <a:pt x="2679700" y="0"/>
                </a:lnTo>
              </a:path>
            </a:pathLst>
          </a:custGeom>
          <a:noFill/>
          <a:ln w="9525" cap="rnd" cmpd="sng" algn="ctr">
            <a:solidFill>
              <a:srgbClr val="686F6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bg-BG" dirty="0">
              <a:sym typeface="PT Sans Caption" panose="020B0603020203020204" pitchFamily="34" charset="0"/>
            </a:endParaRPr>
          </a:p>
        </p:txBody>
      </p:sp>
      <p:sp>
        <p:nvSpPr>
          <p:cNvPr id="72710" name="TextBox 3"/>
          <p:cNvSpPr txBox="1">
            <a:spLocks noChangeArrowheads="1"/>
          </p:cNvSpPr>
          <p:nvPr/>
        </p:nvSpPr>
        <p:spPr bwMode="auto">
          <a:xfrm>
            <a:off x="5133975" y="5611813"/>
            <a:ext cx="19272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bg-BG" sz="1200">
                <a:latin typeface="PT Sans Caption"/>
                <a:sym typeface="PT Sans Caption"/>
              </a:rPr>
              <a:t>В магазине сканируют код товара и размещают его на полке</a:t>
            </a:r>
          </a:p>
        </p:txBody>
      </p:sp>
      <p:sp>
        <p:nvSpPr>
          <p:cNvPr id="72711" name="TextBox 5"/>
          <p:cNvSpPr txBox="1">
            <a:spLocks noChangeArrowheads="1"/>
          </p:cNvSpPr>
          <p:nvPr/>
        </p:nvSpPr>
        <p:spPr bwMode="auto">
          <a:xfrm>
            <a:off x="7386638" y="5611813"/>
            <a:ext cx="19272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bg-BG" sz="1200">
                <a:latin typeface="PT Sans Caption"/>
                <a:sym typeface="PT Sans Caption"/>
              </a:rPr>
              <a:t>Товар продали на кассе в системе “код вышел из оборота”</a:t>
            </a:r>
          </a:p>
        </p:txBody>
      </p:sp>
      <p:sp>
        <p:nvSpPr>
          <p:cNvPr id="72712" name="TextBox 7"/>
          <p:cNvSpPr txBox="1">
            <a:spLocks noChangeArrowheads="1"/>
          </p:cNvSpPr>
          <p:nvPr/>
        </p:nvSpPr>
        <p:spPr bwMode="auto">
          <a:xfrm>
            <a:off x="2882900" y="5611813"/>
            <a:ext cx="19272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bg-BG" sz="1200">
                <a:latin typeface="PT Sans Caption"/>
                <a:sym typeface="PT Sans Caption"/>
              </a:rPr>
              <a:t>Весь путь товара фиксируется на каждом этапе</a:t>
            </a:r>
          </a:p>
        </p:txBody>
      </p:sp>
      <p:sp>
        <p:nvSpPr>
          <p:cNvPr id="72713" name="TextBox 9"/>
          <p:cNvSpPr txBox="1">
            <a:spLocks noChangeArrowheads="1"/>
          </p:cNvSpPr>
          <p:nvPr/>
        </p:nvSpPr>
        <p:spPr bwMode="auto">
          <a:xfrm>
            <a:off x="630238" y="5611813"/>
            <a:ext cx="19272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bg-BG" sz="1200">
                <a:latin typeface="PT Sans Caption"/>
                <a:sym typeface="PT Sans Caption"/>
              </a:rPr>
              <a:t>Производитель наносит цифровой код на товар</a:t>
            </a:r>
          </a:p>
        </p:txBody>
      </p:sp>
      <p:sp>
        <p:nvSpPr>
          <p:cNvPr id="72714" name="TextBox 11"/>
          <p:cNvSpPr txBox="1">
            <a:spLocks noChangeArrowheads="1"/>
          </p:cNvSpPr>
          <p:nvPr/>
        </p:nvSpPr>
        <p:spPr bwMode="auto">
          <a:xfrm>
            <a:off x="9639300" y="5611813"/>
            <a:ext cx="19272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bg-BG" sz="1200">
                <a:latin typeface="PT Sans Caption"/>
                <a:sym typeface="PT Sans Caption"/>
              </a:rPr>
              <a:t>Вся правда о товаре в мобильном приложении</a:t>
            </a:r>
          </a:p>
        </p:txBody>
      </p:sp>
      <p:grpSp>
        <p:nvGrpSpPr>
          <p:cNvPr id="72715" name="Group 152"/>
          <p:cNvGrpSpPr>
            <a:grpSpLocks/>
          </p:cNvGrpSpPr>
          <p:nvPr/>
        </p:nvGrpSpPr>
        <p:grpSpPr bwMode="auto">
          <a:xfrm>
            <a:off x="3281363" y="4368800"/>
            <a:ext cx="1128712" cy="1128713"/>
            <a:chOff x="3174113" y="4234235"/>
            <a:chExt cx="1127654" cy="1127656"/>
          </a:xfrm>
        </p:grpSpPr>
        <p:sp>
          <p:nvSpPr>
            <p:cNvPr id="7" name="Oval 6"/>
            <p:cNvSpPr/>
            <p:nvPr/>
          </p:nvSpPr>
          <p:spPr>
            <a:xfrm>
              <a:off x="317411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sym typeface="PT Sans Caption" panose="020B0603020203020204" pitchFamily="34" charset="0"/>
              </a:endParaRPr>
            </a:p>
          </p:txBody>
        </p:sp>
        <p:grpSp>
          <p:nvGrpSpPr>
            <p:cNvPr id="72853" name="bcgIcons_LargeTruck"/>
            <p:cNvGrpSpPr>
              <a:grpSpLocks noChangeAspect="1"/>
            </p:cNvGrpSpPr>
            <p:nvPr/>
          </p:nvGrpSpPr>
          <p:grpSpPr bwMode="auto">
            <a:xfrm>
              <a:off x="3326840" y="4386583"/>
              <a:ext cx="822200" cy="822960"/>
              <a:chOff x="1682" y="0"/>
              <a:chExt cx="4316" cy="4320"/>
            </a:xfrm>
          </p:grpSpPr>
          <p:sp>
            <p:nvSpPr>
              <p:cNvPr id="72854" name="AutoShape 19"/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855" name="Freeform 21"/>
              <p:cNvSpPr>
                <a:spLocks noEditPoints="1"/>
              </p:cNvSpPr>
              <p:nvPr/>
            </p:nvSpPr>
            <p:spPr bwMode="auto">
              <a:xfrm>
                <a:off x="2162" y="1588"/>
                <a:ext cx="3562" cy="1601"/>
              </a:xfrm>
              <a:custGeom>
                <a:avLst/>
                <a:gdLst>
                  <a:gd name="T0" fmla="*/ 3562 w 1902"/>
                  <a:gd name="T1" fmla="*/ 609 h 854"/>
                  <a:gd name="T2" fmla="*/ 3562 w 1902"/>
                  <a:gd name="T3" fmla="*/ 1209 h 854"/>
                  <a:gd name="T4" fmla="*/ 3519 w 1902"/>
                  <a:gd name="T5" fmla="*/ 1250 h 854"/>
                  <a:gd name="T6" fmla="*/ 3260 w 1902"/>
                  <a:gd name="T7" fmla="*/ 1250 h 854"/>
                  <a:gd name="T8" fmla="*/ 3227 w 1902"/>
                  <a:gd name="T9" fmla="*/ 1168 h 854"/>
                  <a:gd name="T10" fmla="*/ 3480 w 1902"/>
                  <a:gd name="T11" fmla="*/ 1168 h 854"/>
                  <a:gd name="T12" fmla="*/ 3480 w 1902"/>
                  <a:gd name="T13" fmla="*/ 634 h 854"/>
                  <a:gd name="T14" fmla="*/ 3116 w 1902"/>
                  <a:gd name="T15" fmla="*/ 82 h 854"/>
                  <a:gd name="T16" fmla="*/ 2481 w 1902"/>
                  <a:gd name="T17" fmla="*/ 82 h 854"/>
                  <a:gd name="T18" fmla="*/ 2481 w 1902"/>
                  <a:gd name="T19" fmla="*/ 1168 h 854"/>
                  <a:gd name="T20" fmla="*/ 2631 w 1902"/>
                  <a:gd name="T21" fmla="*/ 1168 h 854"/>
                  <a:gd name="T22" fmla="*/ 2598 w 1902"/>
                  <a:gd name="T23" fmla="*/ 1250 h 854"/>
                  <a:gd name="T24" fmla="*/ 2440 w 1902"/>
                  <a:gd name="T25" fmla="*/ 1250 h 854"/>
                  <a:gd name="T26" fmla="*/ 2399 w 1902"/>
                  <a:gd name="T27" fmla="*/ 1209 h 854"/>
                  <a:gd name="T28" fmla="*/ 2399 w 1902"/>
                  <a:gd name="T29" fmla="*/ 39 h 854"/>
                  <a:gd name="T30" fmla="*/ 2440 w 1902"/>
                  <a:gd name="T31" fmla="*/ 0 h 854"/>
                  <a:gd name="T32" fmla="*/ 3161 w 1902"/>
                  <a:gd name="T33" fmla="*/ 0 h 854"/>
                  <a:gd name="T34" fmla="*/ 3562 w 1902"/>
                  <a:gd name="T35" fmla="*/ 609 h 854"/>
                  <a:gd name="T36" fmla="*/ 3193 w 1902"/>
                  <a:gd name="T37" fmla="*/ 1337 h 854"/>
                  <a:gd name="T38" fmla="*/ 2929 w 1902"/>
                  <a:gd name="T39" fmla="*/ 1072 h 854"/>
                  <a:gd name="T40" fmla="*/ 2665 w 1902"/>
                  <a:gd name="T41" fmla="*/ 1337 h 854"/>
                  <a:gd name="T42" fmla="*/ 2938 w 1902"/>
                  <a:gd name="T43" fmla="*/ 1601 h 854"/>
                  <a:gd name="T44" fmla="*/ 3193 w 1902"/>
                  <a:gd name="T45" fmla="*/ 1337 h 854"/>
                  <a:gd name="T46" fmla="*/ 3103 w 1902"/>
                  <a:gd name="T47" fmla="*/ 1337 h 854"/>
                  <a:gd name="T48" fmla="*/ 2929 w 1902"/>
                  <a:gd name="T49" fmla="*/ 1511 h 854"/>
                  <a:gd name="T50" fmla="*/ 2757 w 1902"/>
                  <a:gd name="T51" fmla="*/ 1337 h 854"/>
                  <a:gd name="T52" fmla="*/ 2929 w 1902"/>
                  <a:gd name="T53" fmla="*/ 1162 h 854"/>
                  <a:gd name="T54" fmla="*/ 3103 w 1902"/>
                  <a:gd name="T55" fmla="*/ 1337 h 854"/>
                  <a:gd name="T56" fmla="*/ 755 w 1902"/>
                  <a:gd name="T57" fmla="*/ 1337 h 854"/>
                  <a:gd name="T58" fmla="*/ 491 w 1902"/>
                  <a:gd name="T59" fmla="*/ 1072 h 854"/>
                  <a:gd name="T60" fmla="*/ 227 w 1902"/>
                  <a:gd name="T61" fmla="*/ 1337 h 854"/>
                  <a:gd name="T62" fmla="*/ 500 w 1902"/>
                  <a:gd name="T63" fmla="*/ 1601 h 854"/>
                  <a:gd name="T64" fmla="*/ 755 w 1902"/>
                  <a:gd name="T65" fmla="*/ 1337 h 854"/>
                  <a:gd name="T66" fmla="*/ 663 w 1902"/>
                  <a:gd name="T67" fmla="*/ 1337 h 854"/>
                  <a:gd name="T68" fmla="*/ 491 w 1902"/>
                  <a:gd name="T69" fmla="*/ 1511 h 854"/>
                  <a:gd name="T70" fmla="*/ 316 w 1902"/>
                  <a:gd name="T71" fmla="*/ 1337 h 854"/>
                  <a:gd name="T72" fmla="*/ 491 w 1902"/>
                  <a:gd name="T73" fmla="*/ 1162 h 854"/>
                  <a:gd name="T74" fmla="*/ 663 w 1902"/>
                  <a:gd name="T75" fmla="*/ 1337 h 854"/>
                  <a:gd name="T76" fmla="*/ 2298 w 1902"/>
                  <a:gd name="T77" fmla="*/ 877 h 854"/>
                  <a:gd name="T78" fmla="*/ 39 w 1902"/>
                  <a:gd name="T79" fmla="*/ 877 h 854"/>
                  <a:gd name="T80" fmla="*/ 0 w 1902"/>
                  <a:gd name="T81" fmla="*/ 917 h 854"/>
                  <a:gd name="T82" fmla="*/ 0 w 1902"/>
                  <a:gd name="T83" fmla="*/ 1211 h 854"/>
                  <a:gd name="T84" fmla="*/ 39 w 1902"/>
                  <a:gd name="T85" fmla="*/ 1250 h 854"/>
                  <a:gd name="T86" fmla="*/ 155 w 1902"/>
                  <a:gd name="T87" fmla="*/ 1250 h 854"/>
                  <a:gd name="T88" fmla="*/ 491 w 1902"/>
                  <a:gd name="T89" fmla="*/ 990 h 854"/>
                  <a:gd name="T90" fmla="*/ 826 w 1902"/>
                  <a:gd name="T91" fmla="*/ 1250 h 854"/>
                  <a:gd name="T92" fmla="*/ 2298 w 1902"/>
                  <a:gd name="T93" fmla="*/ 1250 h 854"/>
                  <a:gd name="T94" fmla="*/ 2305 w 1902"/>
                  <a:gd name="T95" fmla="*/ 1250 h 854"/>
                  <a:gd name="T96" fmla="*/ 2305 w 1902"/>
                  <a:gd name="T97" fmla="*/ 877 h 854"/>
                  <a:gd name="T98" fmla="*/ 2298 w 1902"/>
                  <a:gd name="T99" fmla="*/ 877 h 854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902"/>
                  <a:gd name="T151" fmla="*/ 0 h 854"/>
                  <a:gd name="T152" fmla="*/ 1902 w 1902"/>
                  <a:gd name="T153" fmla="*/ 854 h 854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902" h="854">
                    <a:moveTo>
                      <a:pt x="1902" y="325"/>
                    </a:moveTo>
                    <a:cubicBezTo>
                      <a:pt x="1902" y="645"/>
                      <a:pt x="1902" y="645"/>
                      <a:pt x="1902" y="645"/>
                    </a:cubicBezTo>
                    <a:cubicBezTo>
                      <a:pt x="1902" y="657"/>
                      <a:pt x="1892" y="667"/>
                      <a:pt x="1879" y="667"/>
                    </a:cubicBezTo>
                    <a:cubicBezTo>
                      <a:pt x="1741" y="667"/>
                      <a:pt x="1741" y="667"/>
                      <a:pt x="1741" y="667"/>
                    </a:cubicBezTo>
                    <a:cubicBezTo>
                      <a:pt x="1737" y="651"/>
                      <a:pt x="1731" y="637"/>
                      <a:pt x="1723" y="623"/>
                    </a:cubicBezTo>
                    <a:cubicBezTo>
                      <a:pt x="1858" y="623"/>
                      <a:pt x="1858" y="623"/>
                      <a:pt x="1858" y="623"/>
                    </a:cubicBezTo>
                    <a:cubicBezTo>
                      <a:pt x="1858" y="338"/>
                      <a:pt x="1858" y="338"/>
                      <a:pt x="1858" y="338"/>
                    </a:cubicBezTo>
                    <a:cubicBezTo>
                      <a:pt x="1664" y="44"/>
                      <a:pt x="1664" y="44"/>
                      <a:pt x="1664" y="44"/>
                    </a:cubicBezTo>
                    <a:cubicBezTo>
                      <a:pt x="1325" y="44"/>
                      <a:pt x="1325" y="44"/>
                      <a:pt x="1325" y="44"/>
                    </a:cubicBezTo>
                    <a:cubicBezTo>
                      <a:pt x="1325" y="623"/>
                      <a:pt x="1325" y="623"/>
                      <a:pt x="1325" y="623"/>
                    </a:cubicBezTo>
                    <a:cubicBezTo>
                      <a:pt x="1405" y="623"/>
                      <a:pt x="1405" y="623"/>
                      <a:pt x="1405" y="623"/>
                    </a:cubicBezTo>
                    <a:cubicBezTo>
                      <a:pt x="1398" y="637"/>
                      <a:pt x="1391" y="651"/>
                      <a:pt x="1387" y="667"/>
                    </a:cubicBezTo>
                    <a:cubicBezTo>
                      <a:pt x="1303" y="667"/>
                      <a:pt x="1303" y="667"/>
                      <a:pt x="1303" y="667"/>
                    </a:cubicBezTo>
                    <a:cubicBezTo>
                      <a:pt x="1291" y="667"/>
                      <a:pt x="1281" y="657"/>
                      <a:pt x="1281" y="645"/>
                    </a:cubicBezTo>
                    <a:cubicBezTo>
                      <a:pt x="1281" y="21"/>
                      <a:pt x="1281" y="21"/>
                      <a:pt x="1281" y="21"/>
                    </a:cubicBezTo>
                    <a:cubicBezTo>
                      <a:pt x="1281" y="9"/>
                      <a:pt x="1291" y="0"/>
                      <a:pt x="1303" y="0"/>
                    </a:cubicBezTo>
                    <a:cubicBezTo>
                      <a:pt x="1688" y="0"/>
                      <a:pt x="1688" y="0"/>
                      <a:pt x="1688" y="0"/>
                    </a:cubicBezTo>
                    <a:lnTo>
                      <a:pt x="1902" y="325"/>
                    </a:lnTo>
                    <a:close/>
                    <a:moveTo>
                      <a:pt x="1705" y="713"/>
                    </a:moveTo>
                    <a:cubicBezTo>
                      <a:pt x="1705" y="635"/>
                      <a:pt x="1642" y="572"/>
                      <a:pt x="1564" y="572"/>
                    </a:cubicBezTo>
                    <a:cubicBezTo>
                      <a:pt x="1486" y="572"/>
                      <a:pt x="1423" y="635"/>
                      <a:pt x="1423" y="713"/>
                    </a:cubicBezTo>
                    <a:cubicBezTo>
                      <a:pt x="1423" y="791"/>
                      <a:pt x="1491" y="854"/>
                      <a:pt x="1569" y="854"/>
                    </a:cubicBezTo>
                    <a:cubicBezTo>
                      <a:pt x="1647" y="854"/>
                      <a:pt x="1705" y="791"/>
                      <a:pt x="1705" y="713"/>
                    </a:cubicBezTo>
                    <a:close/>
                    <a:moveTo>
                      <a:pt x="1657" y="713"/>
                    </a:moveTo>
                    <a:cubicBezTo>
                      <a:pt x="1657" y="764"/>
                      <a:pt x="1615" y="806"/>
                      <a:pt x="1564" y="806"/>
                    </a:cubicBezTo>
                    <a:cubicBezTo>
                      <a:pt x="1513" y="806"/>
                      <a:pt x="1472" y="764"/>
                      <a:pt x="1472" y="713"/>
                    </a:cubicBezTo>
                    <a:cubicBezTo>
                      <a:pt x="1472" y="662"/>
                      <a:pt x="1513" y="620"/>
                      <a:pt x="1564" y="620"/>
                    </a:cubicBezTo>
                    <a:cubicBezTo>
                      <a:pt x="1615" y="620"/>
                      <a:pt x="1657" y="662"/>
                      <a:pt x="1657" y="713"/>
                    </a:cubicBezTo>
                    <a:close/>
                    <a:moveTo>
                      <a:pt x="403" y="713"/>
                    </a:moveTo>
                    <a:cubicBezTo>
                      <a:pt x="403" y="635"/>
                      <a:pt x="340" y="572"/>
                      <a:pt x="262" y="572"/>
                    </a:cubicBezTo>
                    <a:cubicBezTo>
                      <a:pt x="184" y="572"/>
                      <a:pt x="121" y="635"/>
                      <a:pt x="121" y="713"/>
                    </a:cubicBezTo>
                    <a:cubicBezTo>
                      <a:pt x="121" y="791"/>
                      <a:pt x="189" y="854"/>
                      <a:pt x="267" y="854"/>
                    </a:cubicBezTo>
                    <a:cubicBezTo>
                      <a:pt x="344" y="854"/>
                      <a:pt x="403" y="791"/>
                      <a:pt x="403" y="713"/>
                    </a:cubicBezTo>
                    <a:close/>
                    <a:moveTo>
                      <a:pt x="354" y="713"/>
                    </a:moveTo>
                    <a:cubicBezTo>
                      <a:pt x="354" y="764"/>
                      <a:pt x="313" y="806"/>
                      <a:pt x="262" y="806"/>
                    </a:cubicBezTo>
                    <a:cubicBezTo>
                      <a:pt x="211" y="806"/>
                      <a:pt x="169" y="764"/>
                      <a:pt x="169" y="713"/>
                    </a:cubicBezTo>
                    <a:cubicBezTo>
                      <a:pt x="169" y="662"/>
                      <a:pt x="211" y="620"/>
                      <a:pt x="262" y="620"/>
                    </a:cubicBezTo>
                    <a:cubicBezTo>
                      <a:pt x="313" y="620"/>
                      <a:pt x="354" y="662"/>
                      <a:pt x="354" y="713"/>
                    </a:cubicBezTo>
                    <a:close/>
                    <a:moveTo>
                      <a:pt x="1227" y="468"/>
                    </a:moveTo>
                    <a:cubicBezTo>
                      <a:pt x="21" y="468"/>
                      <a:pt x="21" y="468"/>
                      <a:pt x="21" y="468"/>
                    </a:cubicBezTo>
                    <a:cubicBezTo>
                      <a:pt x="9" y="468"/>
                      <a:pt x="0" y="477"/>
                      <a:pt x="0" y="489"/>
                    </a:cubicBezTo>
                    <a:cubicBezTo>
                      <a:pt x="0" y="646"/>
                      <a:pt x="0" y="646"/>
                      <a:pt x="0" y="646"/>
                    </a:cubicBezTo>
                    <a:cubicBezTo>
                      <a:pt x="0" y="658"/>
                      <a:pt x="9" y="667"/>
                      <a:pt x="21" y="667"/>
                    </a:cubicBezTo>
                    <a:cubicBezTo>
                      <a:pt x="83" y="667"/>
                      <a:pt x="83" y="667"/>
                      <a:pt x="83" y="667"/>
                    </a:cubicBezTo>
                    <a:cubicBezTo>
                      <a:pt x="103" y="587"/>
                      <a:pt x="176" y="528"/>
                      <a:pt x="262" y="528"/>
                    </a:cubicBezTo>
                    <a:cubicBezTo>
                      <a:pt x="348" y="528"/>
                      <a:pt x="421" y="587"/>
                      <a:pt x="441" y="667"/>
                    </a:cubicBezTo>
                    <a:cubicBezTo>
                      <a:pt x="1227" y="667"/>
                      <a:pt x="1227" y="667"/>
                      <a:pt x="1227" y="667"/>
                    </a:cubicBezTo>
                    <a:cubicBezTo>
                      <a:pt x="1228" y="667"/>
                      <a:pt x="1230" y="667"/>
                      <a:pt x="1231" y="667"/>
                    </a:cubicBezTo>
                    <a:cubicBezTo>
                      <a:pt x="1231" y="468"/>
                      <a:pt x="1231" y="468"/>
                      <a:pt x="1231" y="468"/>
                    </a:cubicBezTo>
                    <a:cubicBezTo>
                      <a:pt x="1230" y="468"/>
                      <a:pt x="1228" y="468"/>
                      <a:pt x="1227" y="468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856" name="Freeform 22"/>
              <p:cNvSpPr>
                <a:spLocks noEditPoints="1"/>
              </p:cNvSpPr>
              <p:nvPr/>
            </p:nvSpPr>
            <p:spPr bwMode="auto">
              <a:xfrm>
                <a:off x="1963" y="1144"/>
                <a:ext cx="3501" cy="1878"/>
              </a:xfrm>
              <a:custGeom>
                <a:avLst/>
                <a:gdLst>
                  <a:gd name="T0" fmla="*/ 3467 w 1869"/>
                  <a:gd name="T1" fmla="*/ 1003 h 1002"/>
                  <a:gd name="T2" fmla="*/ 2873 w 1869"/>
                  <a:gd name="T3" fmla="*/ 1003 h 1002"/>
                  <a:gd name="T4" fmla="*/ 2855 w 1869"/>
                  <a:gd name="T5" fmla="*/ 986 h 1002"/>
                  <a:gd name="T6" fmla="*/ 2855 w 1869"/>
                  <a:gd name="T7" fmla="*/ 598 h 1002"/>
                  <a:gd name="T8" fmla="*/ 2873 w 1869"/>
                  <a:gd name="T9" fmla="*/ 581 h 1002"/>
                  <a:gd name="T10" fmla="*/ 3254 w 1869"/>
                  <a:gd name="T11" fmla="*/ 581 h 1002"/>
                  <a:gd name="T12" fmla="*/ 3291 w 1869"/>
                  <a:gd name="T13" fmla="*/ 615 h 1002"/>
                  <a:gd name="T14" fmla="*/ 3499 w 1869"/>
                  <a:gd name="T15" fmla="*/ 967 h 1002"/>
                  <a:gd name="T16" fmla="*/ 3501 w 1869"/>
                  <a:gd name="T17" fmla="*/ 976 h 1002"/>
                  <a:gd name="T18" fmla="*/ 3467 w 1869"/>
                  <a:gd name="T19" fmla="*/ 1003 h 1002"/>
                  <a:gd name="T20" fmla="*/ 689 w 1869"/>
                  <a:gd name="T21" fmla="*/ 1683 h 1002"/>
                  <a:gd name="T22" fmla="*/ 592 w 1869"/>
                  <a:gd name="T23" fmla="*/ 1781 h 1002"/>
                  <a:gd name="T24" fmla="*/ 689 w 1869"/>
                  <a:gd name="T25" fmla="*/ 1878 h 1002"/>
                  <a:gd name="T26" fmla="*/ 787 w 1869"/>
                  <a:gd name="T27" fmla="*/ 1781 h 1002"/>
                  <a:gd name="T28" fmla="*/ 689 w 1869"/>
                  <a:gd name="T29" fmla="*/ 1683 h 1002"/>
                  <a:gd name="T30" fmla="*/ 3128 w 1869"/>
                  <a:gd name="T31" fmla="*/ 1683 h 1002"/>
                  <a:gd name="T32" fmla="*/ 3031 w 1869"/>
                  <a:gd name="T33" fmla="*/ 1781 h 1002"/>
                  <a:gd name="T34" fmla="*/ 3128 w 1869"/>
                  <a:gd name="T35" fmla="*/ 1878 h 1002"/>
                  <a:gd name="T36" fmla="*/ 3226 w 1869"/>
                  <a:gd name="T37" fmla="*/ 1781 h 1002"/>
                  <a:gd name="T38" fmla="*/ 3128 w 1869"/>
                  <a:gd name="T39" fmla="*/ 1683 h 1002"/>
                  <a:gd name="T40" fmla="*/ 2510 w 1869"/>
                  <a:gd name="T41" fmla="*/ 41 h 1002"/>
                  <a:gd name="T42" fmla="*/ 2469 w 1869"/>
                  <a:gd name="T43" fmla="*/ 0 h 1002"/>
                  <a:gd name="T44" fmla="*/ 41 w 1869"/>
                  <a:gd name="T45" fmla="*/ 0 h 1002"/>
                  <a:gd name="T46" fmla="*/ 0 w 1869"/>
                  <a:gd name="T47" fmla="*/ 41 h 1002"/>
                  <a:gd name="T48" fmla="*/ 0 w 1869"/>
                  <a:gd name="T49" fmla="*/ 1198 h 1002"/>
                  <a:gd name="T50" fmla="*/ 41 w 1869"/>
                  <a:gd name="T51" fmla="*/ 1239 h 1002"/>
                  <a:gd name="T52" fmla="*/ 2510 w 1869"/>
                  <a:gd name="T53" fmla="*/ 1239 h 1002"/>
                  <a:gd name="T54" fmla="*/ 2510 w 1869"/>
                  <a:gd name="T55" fmla="*/ 41 h 100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869"/>
                  <a:gd name="T85" fmla="*/ 0 h 1002"/>
                  <a:gd name="T86" fmla="*/ 1869 w 1869"/>
                  <a:gd name="T87" fmla="*/ 1002 h 1002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869" h="1002">
                    <a:moveTo>
                      <a:pt x="1851" y="535"/>
                    </a:moveTo>
                    <a:cubicBezTo>
                      <a:pt x="1534" y="535"/>
                      <a:pt x="1534" y="535"/>
                      <a:pt x="1534" y="535"/>
                    </a:cubicBezTo>
                    <a:cubicBezTo>
                      <a:pt x="1529" y="535"/>
                      <a:pt x="1524" y="531"/>
                      <a:pt x="1524" y="526"/>
                    </a:cubicBezTo>
                    <a:cubicBezTo>
                      <a:pt x="1524" y="319"/>
                      <a:pt x="1524" y="319"/>
                      <a:pt x="1524" y="319"/>
                    </a:cubicBezTo>
                    <a:cubicBezTo>
                      <a:pt x="1524" y="314"/>
                      <a:pt x="1529" y="310"/>
                      <a:pt x="1534" y="310"/>
                    </a:cubicBezTo>
                    <a:cubicBezTo>
                      <a:pt x="1737" y="310"/>
                      <a:pt x="1737" y="310"/>
                      <a:pt x="1737" y="310"/>
                    </a:cubicBezTo>
                    <a:cubicBezTo>
                      <a:pt x="1747" y="310"/>
                      <a:pt x="1751" y="318"/>
                      <a:pt x="1757" y="328"/>
                    </a:cubicBezTo>
                    <a:cubicBezTo>
                      <a:pt x="1868" y="516"/>
                      <a:pt x="1868" y="516"/>
                      <a:pt x="1868" y="516"/>
                    </a:cubicBezTo>
                    <a:cubicBezTo>
                      <a:pt x="1869" y="517"/>
                      <a:pt x="1869" y="519"/>
                      <a:pt x="1869" y="521"/>
                    </a:cubicBezTo>
                    <a:cubicBezTo>
                      <a:pt x="1867" y="529"/>
                      <a:pt x="1860" y="535"/>
                      <a:pt x="1851" y="535"/>
                    </a:cubicBezTo>
                    <a:close/>
                    <a:moveTo>
                      <a:pt x="368" y="898"/>
                    </a:moveTo>
                    <a:cubicBezTo>
                      <a:pt x="339" y="898"/>
                      <a:pt x="316" y="921"/>
                      <a:pt x="316" y="950"/>
                    </a:cubicBezTo>
                    <a:cubicBezTo>
                      <a:pt x="316" y="979"/>
                      <a:pt x="339" y="1002"/>
                      <a:pt x="368" y="1002"/>
                    </a:cubicBezTo>
                    <a:cubicBezTo>
                      <a:pt x="397" y="1002"/>
                      <a:pt x="420" y="979"/>
                      <a:pt x="420" y="950"/>
                    </a:cubicBezTo>
                    <a:cubicBezTo>
                      <a:pt x="420" y="921"/>
                      <a:pt x="397" y="898"/>
                      <a:pt x="368" y="898"/>
                    </a:cubicBezTo>
                    <a:close/>
                    <a:moveTo>
                      <a:pt x="1670" y="898"/>
                    </a:moveTo>
                    <a:cubicBezTo>
                      <a:pt x="1641" y="898"/>
                      <a:pt x="1618" y="921"/>
                      <a:pt x="1618" y="950"/>
                    </a:cubicBezTo>
                    <a:cubicBezTo>
                      <a:pt x="1618" y="979"/>
                      <a:pt x="1641" y="1002"/>
                      <a:pt x="1670" y="1002"/>
                    </a:cubicBezTo>
                    <a:cubicBezTo>
                      <a:pt x="1699" y="1002"/>
                      <a:pt x="1722" y="979"/>
                      <a:pt x="1722" y="950"/>
                    </a:cubicBezTo>
                    <a:cubicBezTo>
                      <a:pt x="1722" y="921"/>
                      <a:pt x="1699" y="898"/>
                      <a:pt x="1670" y="898"/>
                    </a:cubicBezTo>
                    <a:close/>
                    <a:moveTo>
                      <a:pt x="1340" y="22"/>
                    </a:moveTo>
                    <a:cubicBezTo>
                      <a:pt x="1340" y="10"/>
                      <a:pt x="1330" y="0"/>
                      <a:pt x="1318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639"/>
                      <a:pt x="0" y="639"/>
                      <a:pt x="0" y="639"/>
                    </a:cubicBezTo>
                    <a:cubicBezTo>
                      <a:pt x="0" y="651"/>
                      <a:pt x="10" y="661"/>
                      <a:pt x="22" y="661"/>
                    </a:cubicBezTo>
                    <a:cubicBezTo>
                      <a:pt x="1340" y="661"/>
                      <a:pt x="1340" y="661"/>
                      <a:pt x="1340" y="661"/>
                    </a:cubicBezTo>
                    <a:lnTo>
                      <a:pt x="1340" y="22"/>
                    </a:lnTo>
                    <a:close/>
                  </a:path>
                </a:pathLst>
              </a:custGeom>
              <a:solidFill>
                <a:srgbClr val="98A6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72716" name="Group 153"/>
          <p:cNvGrpSpPr>
            <a:grpSpLocks/>
          </p:cNvGrpSpPr>
          <p:nvPr/>
        </p:nvGrpSpPr>
        <p:grpSpPr bwMode="auto">
          <a:xfrm>
            <a:off x="1030288" y="4368800"/>
            <a:ext cx="1127125" cy="1128713"/>
            <a:chOff x="1029847" y="4234235"/>
            <a:chExt cx="1127654" cy="1127656"/>
          </a:xfrm>
        </p:grpSpPr>
        <p:sp>
          <p:nvSpPr>
            <p:cNvPr id="9" name="Oval 8"/>
            <p:cNvSpPr/>
            <p:nvPr/>
          </p:nvSpPr>
          <p:spPr>
            <a:xfrm>
              <a:off x="1029847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sym typeface="PT Sans Caption" panose="020B0603020203020204" pitchFamily="34" charset="0"/>
              </a:endParaRPr>
            </a:p>
          </p:txBody>
        </p:sp>
        <p:grpSp>
          <p:nvGrpSpPr>
            <p:cNvPr id="72845" name="Group 16"/>
            <p:cNvGrpSpPr>
              <a:grpSpLocks noChangeAspect="1"/>
            </p:cNvGrpSpPr>
            <p:nvPr/>
          </p:nvGrpSpPr>
          <p:grpSpPr bwMode="auto">
            <a:xfrm>
              <a:off x="1182574" y="4386583"/>
              <a:ext cx="822200" cy="822960"/>
              <a:chOff x="5273799" y="2606040"/>
              <a:chExt cx="1644396" cy="1645920"/>
            </a:xfrm>
          </p:grpSpPr>
          <p:sp>
            <p:nvSpPr>
              <p:cNvPr id="72846" name="AutoShape 1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72847" name="Group 18"/>
              <p:cNvGrpSpPr>
                <a:grpSpLocks/>
              </p:cNvGrpSpPr>
              <p:nvPr/>
            </p:nvGrpSpPr>
            <p:grpSpPr bwMode="auto">
              <a:xfrm>
                <a:off x="5407149" y="2775204"/>
                <a:ext cx="1379220" cy="1306068"/>
                <a:chOff x="5407149" y="2775204"/>
                <a:chExt cx="1379220" cy="1306068"/>
              </a:xfrm>
            </p:grpSpPr>
            <p:sp>
              <p:nvSpPr>
                <p:cNvPr id="72848" name="Freeform 15"/>
                <p:cNvSpPr>
                  <a:spLocks noEditPoints="1"/>
                </p:cNvSpPr>
                <p:nvPr/>
              </p:nvSpPr>
              <p:spPr bwMode="auto">
                <a:xfrm>
                  <a:off x="5602983" y="3357372"/>
                  <a:ext cx="987552" cy="308229"/>
                </a:xfrm>
                <a:custGeom>
                  <a:avLst/>
                  <a:gdLst>
                    <a:gd name="T0" fmla="*/ 7135 w 1384"/>
                    <a:gd name="T1" fmla="*/ 130872 h 431"/>
                    <a:gd name="T2" fmla="*/ 0 w 1384"/>
                    <a:gd name="T3" fmla="*/ 7151 h 431"/>
                    <a:gd name="T4" fmla="*/ 208356 w 1384"/>
                    <a:gd name="T5" fmla="*/ 0 h 431"/>
                    <a:gd name="T6" fmla="*/ 215492 w 1384"/>
                    <a:gd name="T7" fmla="*/ 123721 h 431"/>
                    <a:gd name="T8" fmla="*/ 472370 w 1384"/>
                    <a:gd name="T9" fmla="*/ 123721 h 431"/>
                    <a:gd name="T10" fmla="*/ 465234 w 1384"/>
                    <a:gd name="T11" fmla="*/ 0 h 431"/>
                    <a:gd name="T12" fmla="*/ 257591 w 1384"/>
                    <a:gd name="T13" fmla="*/ 7151 h 431"/>
                    <a:gd name="T14" fmla="*/ 264727 w 1384"/>
                    <a:gd name="T15" fmla="*/ 130872 h 431"/>
                    <a:gd name="T16" fmla="*/ 472370 w 1384"/>
                    <a:gd name="T17" fmla="*/ 123721 h 431"/>
                    <a:gd name="T18" fmla="*/ 729961 w 1384"/>
                    <a:gd name="T19" fmla="*/ 7151 h 431"/>
                    <a:gd name="T20" fmla="*/ 522318 w 1384"/>
                    <a:gd name="T21" fmla="*/ 0 h 431"/>
                    <a:gd name="T22" fmla="*/ 515182 w 1384"/>
                    <a:gd name="T23" fmla="*/ 123721 h 431"/>
                    <a:gd name="T24" fmla="*/ 722825 w 1384"/>
                    <a:gd name="T25" fmla="*/ 130872 h 431"/>
                    <a:gd name="T26" fmla="*/ 987552 w 1384"/>
                    <a:gd name="T27" fmla="*/ 123721 h 431"/>
                    <a:gd name="T28" fmla="*/ 980417 w 1384"/>
                    <a:gd name="T29" fmla="*/ 0 h 431"/>
                    <a:gd name="T30" fmla="*/ 772060 w 1384"/>
                    <a:gd name="T31" fmla="*/ 7151 h 431"/>
                    <a:gd name="T32" fmla="*/ 779196 w 1384"/>
                    <a:gd name="T33" fmla="*/ 130872 h 431"/>
                    <a:gd name="T34" fmla="*/ 987552 w 1384"/>
                    <a:gd name="T35" fmla="*/ 123721 h 431"/>
                    <a:gd name="T36" fmla="*/ 215492 w 1384"/>
                    <a:gd name="T37" fmla="*/ 184508 h 431"/>
                    <a:gd name="T38" fmla="*/ 7135 w 1384"/>
                    <a:gd name="T39" fmla="*/ 177357 h 431"/>
                    <a:gd name="T40" fmla="*/ 0 w 1384"/>
                    <a:gd name="T41" fmla="*/ 301078 h 431"/>
                    <a:gd name="T42" fmla="*/ 208356 w 1384"/>
                    <a:gd name="T43" fmla="*/ 308229 h 431"/>
                    <a:gd name="T44" fmla="*/ 472370 w 1384"/>
                    <a:gd name="T45" fmla="*/ 301078 h 431"/>
                    <a:gd name="T46" fmla="*/ 465234 w 1384"/>
                    <a:gd name="T47" fmla="*/ 177357 h 431"/>
                    <a:gd name="T48" fmla="*/ 257591 w 1384"/>
                    <a:gd name="T49" fmla="*/ 184508 h 431"/>
                    <a:gd name="T50" fmla="*/ 264727 w 1384"/>
                    <a:gd name="T51" fmla="*/ 308229 h 431"/>
                    <a:gd name="T52" fmla="*/ 472370 w 1384"/>
                    <a:gd name="T53" fmla="*/ 301078 h 431"/>
                    <a:gd name="T54" fmla="*/ 729961 w 1384"/>
                    <a:gd name="T55" fmla="*/ 184508 h 431"/>
                    <a:gd name="T56" fmla="*/ 522318 w 1384"/>
                    <a:gd name="T57" fmla="*/ 177357 h 431"/>
                    <a:gd name="T58" fmla="*/ 515182 w 1384"/>
                    <a:gd name="T59" fmla="*/ 301078 h 431"/>
                    <a:gd name="T60" fmla="*/ 722825 w 1384"/>
                    <a:gd name="T61" fmla="*/ 308229 h 431"/>
                    <a:gd name="T62" fmla="*/ 987552 w 1384"/>
                    <a:gd name="T63" fmla="*/ 301078 h 431"/>
                    <a:gd name="T64" fmla="*/ 980417 w 1384"/>
                    <a:gd name="T65" fmla="*/ 177357 h 431"/>
                    <a:gd name="T66" fmla="*/ 772060 w 1384"/>
                    <a:gd name="T67" fmla="*/ 184508 h 431"/>
                    <a:gd name="T68" fmla="*/ 779196 w 1384"/>
                    <a:gd name="T69" fmla="*/ 308229 h 431"/>
                    <a:gd name="T70" fmla="*/ 987552 w 1384"/>
                    <a:gd name="T71" fmla="*/ 301078 h 431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384"/>
                    <a:gd name="T109" fmla="*/ 0 h 431"/>
                    <a:gd name="T110" fmla="*/ 1384 w 1384"/>
                    <a:gd name="T111" fmla="*/ 431 h 431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384" h="431">
                      <a:moveTo>
                        <a:pt x="292" y="183"/>
                      </a:moveTo>
                      <a:cubicBezTo>
                        <a:pt x="10" y="183"/>
                        <a:pt x="10" y="183"/>
                        <a:pt x="10" y="183"/>
                      </a:cubicBezTo>
                      <a:cubicBezTo>
                        <a:pt x="4" y="183"/>
                        <a:pt x="0" y="179"/>
                        <a:pt x="0" y="173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0" y="5"/>
                        <a:pt x="4" y="0"/>
                        <a:pt x="10" y="0"/>
                      </a:cubicBezTo>
                      <a:cubicBezTo>
                        <a:pt x="292" y="0"/>
                        <a:pt x="292" y="0"/>
                        <a:pt x="292" y="0"/>
                      </a:cubicBezTo>
                      <a:cubicBezTo>
                        <a:pt x="297" y="0"/>
                        <a:pt x="302" y="5"/>
                        <a:pt x="302" y="10"/>
                      </a:cubicBezTo>
                      <a:cubicBezTo>
                        <a:pt x="302" y="173"/>
                        <a:pt x="302" y="173"/>
                        <a:pt x="302" y="173"/>
                      </a:cubicBezTo>
                      <a:cubicBezTo>
                        <a:pt x="302" y="179"/>
                        <a:pt x="297" y="183"/>
                        <a:pt x="292" y="183"/>
                      </a:cubicBezTo>
                      <a:close/>
                      <a:moveTo>
                        <a:pt x="662" y="173"/>
                      </a:moveTo>
                      <a:cubicBezTo>
                        <a:pt x="662" y="10"/>
                        <a:pt x="662" y="10"/>
                        <a:pt x="662" y="10"/>
                      </a:cubicBezTo>
                      <a:cubicBezTo>
                        <a:pt x="662" y="5"/>
                        <a:pt x="658" y="0"/>
                        <a:pt x="652" y="0"/>
                      </a:cubicBezTo>
                      <a:cubicBezTo>
                        <a:pt x="371" y="0"/>
                        <a:pt x="371" y="0"/>
                        <a:pt x="371" y="0"/>
                      </a:cubicBezTo>
                      <a:cubicBezTo>
                        <a:pt x="365" y="0"/>
                        <a:pt x="361" y="5"/>
                        <a:pt x="361" y="10"/>
                      </a:cubicBezTo>
                      <a:cubicBezTo>
                        <a:pt x="361" y="173"/>
                        <a:pt x="361" y="173"/>
                        <a:pt x="361" y="173"/>
                      </a:cubicBezTo>
                      <a:cubicBezTo>
                        <a:pt x="361" y="179"/>
                        <a:pt x="365" y="183"/>
                        <a:pt x="371" y="183"/>
                      </a:cubicBezTo>
                      <a:cubicBezTo>
                        <a:pt x="652" y="183"/>
                        <a:pt x="652" y="183"/>
                        <a:pt x="652" y="183"/>
                      </a:cubicBezTo>
                      <a:cubicBezTo>
                        <a:pt x="658" y="183"/>
                        <a:pt x="662" y="179"/>
                        <a:pt x="662" y="173"/>
                      </a:cubicBezTo>
                      <a:close/>
                      <a:moveTo>
                        <a:pt x="1023" y="173"/>
                      </a:moveTo>
                      <a:cubicBezTo>
                        <a:pt x="1023" y="10"/>
                        <a:pt x="1023" y="10"/>
                        <a:pt x="1023" y="10"/>
                      </a:cubicBezTo>
                      <a:cubicBezTo>
                        <a:pt x="1023" y="5"/>
                        <a:pt x="1019" y="0"/>
                        <a:pt x="1013" y="0"/>
                      </a:cubicBezTo>
                      <a:cubicBezTo>
                        <a:pt x="732" y="0"/>
                        <a:pt x="732" y="0"/>
                        <a:pt x="732" y="0"/>
                      </a:cubicBezTo>
                      <a:cubicBezTo>
                        <a:pt x="726" y="0"/>
                        <a:pt x="722" y="5"/>
                        <a:pt x="722" y="10"/>
                      </a:cubicBezTo>
                      <a:cubicBezTo>
                        <a:pt x="722" y="173"/>
                        <a:pt x="722" y="173"/>
                        <a:pt x="722" y="173"/>
                      </a:cubicBezTo>
                      <a:cubicBezTo>
                        <a:pt x="722" y="179"/>
                        <a:pt x="726" y="183"/>
                        <a:pt x="732" y="183"/>
                      </a:cubicBezTo>
                      <a:cubicBezTo>
                        <a:pt x="1013" y="183"/>
                        <a:pt x="1013" y="183"/>
                        <a:pt x="1013" y="183"/>
                      </a:cubicBezTo>
                      <a:cubicBezTo>
                        <a:pt x="1019" y="183"/>
                        <a:pt x="1023" y="179"/>
                        <a:pt x="1023" y="173"/>
                      </a:cubicBezTo>
                      <a:close/>
                      <a:moveTo>
                        <a:pt x="1384" y="173"/>
                      </a:moveTo>
                      <a:cubicBezTo>
                        <a:pt x="1384" y="10"/>
                        <a:pt x="1384" y="10"/>
                        <a:pt x="1384" y="10"/>
                      </a:cubicBezTo>
                      <a:cubicBezTo>
                        <a:pt x="1384" y="5"/>
                        <a:pt x="1380" y="0"/>
                        <a:pt x="1374" y="0"/>
                      </a:cubicBezTo>
                      <a:cubicBezTo>
                        <a:pt x="1092" y="0"/>
                        <a:pt x="1092" y="0"/>
                        <a:pt x="1092" y="0"/>
                      </a:cubicBezTo>
                      <a:cubicBezTo>
                        <a:pt x="1087" y="0"/>
                        <a:pt x="1082" y="5"/>
                        <a:pt x="1082" y="10"/>
                      </a:cubicBezTo>
                      <a:cubicBezTo>
                        <a:pt x="1082" y="173"/>
                        <a:pt x="1082" y="173"/>
                        <a:pt x="1082" y="173"/>
                      </a:cubicBezTo>
                      <a:cubicBezTo>
                        <a:pt x="1082" y="179"/>
                        <a:pt x="1087" y="183"/>
                        <a:pt x="1092" y="183"/>
                      </a:cubicBezTo>
                      <a:cubicBezTo>
                        <a:pt x="1374" y="183"/>
                        <a:pt x="1374" y="183"/>
                        <a:pt x="1374" y="183"/>
                      </a:cubicBezTo>
                      <a:cubicBezTo>
                        <a:pt x="1380" y="183"/>
                        <a:pt x="1384" y="179"/>
                        <a:pt x="1384" y="173"/>
                      </a:cubicBezTo>
                      <a:close/>
                      <a:moveTo>
                        <a:pt x="302" y="421"/>
                      </a:moveTo>
                      <a:cubicBezTo>
                        <a:pt x="302" y="258"/>
                        <a:pt x="302" y="258"/>
                        <a:pt x="302" y="258"/>
                      </a:cubicBezTo>
                      <a:cubicBezTo>
                        <a:pt x="302" y="253"/>
                        <a:pt x="297" y="248"/>
                        <a:pt x="292" y="248"/>
                      </a:cubicBezTo>
                      <a:cubicBezTo>
                        <a:pt x="10" y="248"/>
                        <a:pt x="10" y="248"/>
                        <a:pt x="10" y="248"/>
                      </a:cubicBezTo>
                      <a:cubicBezTo>
                        <a:pt x="4" y="248"/>
                        <a:pt x="0" y="253"/>
                        <a:pt x="0" y="258"/>
                      </a:cubicBezTo>
                      <a:cubicBezTo>
                        <a:pt x="0" y="421"/>
                        <a:pt x="0" y="421"/>
                        <a:pt x="0" y="421"/>
                      </a:cubicBezTo>
                      <a:cubicBezTo>
                        <a:pt x="0" y="427"/>
                        <a:pt x="4" y="431"/>
                        <a:pt x="10" y="431"/>
                      </a:cubicBezTo>
                      <a:cubicBezTo>
                        <a:pt x="292" y="431"/>
                        <a:pt x="292" y="431"/>
                        <a:pt x="292" y="431"/>
                      </a:cubicBezTo>
                      <a:cubicBezTo>
                        <a:pt x="297" y="431"/>
                        <a:pt x="302" y="427"/>
                        <a:pt x="302" y="421"/>
                      </a:cubicBezTo>
                      <a:close/>
                      <a:moveTo>
                        <a:pt x="662" y="421"/>
                      </a:moveTo>
                      <a:cubicBezTo>
                        <a:pt x="662" y="258"/>
                        <a:pt x="662" y="258"/>
                        <a:pt x="662" y="258"/>
                      </a:cubicBezTo>
                      <a:cubicBezTo>
                        <a:pt x="662" y="253"/>
                        <a:pt x="658" y="248"/>
                        <a:pt x="652" y="248"/>
                      </a:cubicBezTo>
                      <a:cubicBezTo>
                        <a:pt x="371" y="248"/>
                        <a:pt x="371" y="248"/>
                        <a:pt x="371" y="248"/>
                      </a:cubicBezTo>
                      <a:cubicBezTo>
                        <a:pt x="365" y="248"/>
                        <a:pt x="361" y="253"/>
                        <a:pt x="361" y="258"/>
                      </a:cubicBezTo>
                      <a:cubicBezTo>
                        <a:pt x="361" y="421"/>
                        <a:pt x="361" y="421"/>
                        <a:pt x="361" y="421"/>
                      </a:cubicBezTo>
                      <a:cubicBezTo>
                        <a:pt x="361" y="427"/>
                        <a:pt x="365" y="431"/>
                        <a:pt x="371" y="431"/>
                      </a:cubicBezTo>
                      <a:cubicBezTo>
                        <a:pt x="652" y="431"/>
                        <a:pt x="652" y="431"/>
                        <a:pt x="652" y="431"/>
                      </a:cubicBezTo>
                      <a:cubicBezTo>
                        <a:pt x="658" y="431"/>
                        <a:pt x="662" y="427"/>
                        <a:pt x="662" y="421"/>
                      </a:cubicBezTo>
                      <a:close/>
                      <a:moveTo>
                        <a:pt x="1023" y="421"/>
                      </a:moveTo>
                      <a:cubicBezTo>
                        <a:pt x="1023" y="258"/>
                        <a:pt x="1023" y="258"/>
                        <a:pt x="1023" y="258"/>
                      </a:cubicBezTo>
                      <a:cubicBezTo>
                        <a:pt x="1023" y="253"/>
                        <a:pt x="1019" y="248"/>
                        <a:pt x="1013" y="248"/>
                      </a:cubicBezTo>
                      <a:cubicBezTo>
                        <a:pt x="732" y="248"/>
                        <a:pt x="732" y="248"/>
                        <a:pt x="732" y="248"/>
                      </a:cubicBezTo>
                      <a:cubicBezTo>
                        <a:pt x="726" y="248"/>
                        <a:pt x="722" y="253"/>
                        <a:pt x="722" y="258"/>
                      </a:cubicBezTo>
                      <a:cubicBezTo>
                        <a:pt x="722" y="421"/>
                        <a:pt x="722" y="421"/>
                        <a:pt x="722" y="421"/>
                      </a:cubicBezTo>
                      <a:cubicBezTo>
                        <a:pt x="722" y="427"/>
                        <a:pt x="726" y="431"/>
                        <a:pt x="732" y="431"/>
                      </a:cubicBezTo>
                      <a:cubicBezTo>
                        <a:pt x="1013" y="431"/>
                        <a:pt x="1013" y="431"/>
                        <a:pt x="1013" y="431"/>
                      </a:cubicBezTo>
                      <a:cubicBezTo>
                        <a:pt x="1019" y="431"/>
                        <a:pt x="1023" y="427"/>
                        <a:pt x="1023" y="421"/>
                      </a:cubicBezTo>
                      <a:close/>
                      <a:moveTo>
                        <a:pt x="1384" y="421"/>
                      </a:moveTo>
                      <a:cubicBezTo>
                        <a:pt x="1384" y="258"/>
                        <a:pt x="1384" y="258"/>
                        <a:pt x="1384" y="258"/>
                      </a:cubicBezTo>
                      <a:cubicBezTo>
                        <a:pt x="1384" y="253"/>
                        <a:pt x="1380" y="248"/>
                        <a:pt x="1374" y="248"/>
                      </a:cubicBezTo>
                      <a:cubicBezTo>
                        <a:pt x="1092" y="248"/>
                        <a:pt x="1092" y="248"/>
                        <a:pt x="1092" y="248"/>
                      </a:cubicBezTo>
                      <a:cubicBezTo>
                        <a:pt x="1087" y="248"/>
                        <a:pt x="1082" y="253"/>
                        <a:pt x="1082" y="258"/>
                      </a:cubicBezTo>
                      <a:cubicBezTo>
                        <a:pt x="1082" y="421"/>
                        <a:pt x="1082" y="421"/>
                        <a:pt x="1082" y="421"/>
                      </a:cubicBezTo>
                      <a:cubicBezTo>
                        <a:pt x="1082" y="427"/>
                        <a:pt x="1087" y="431"/>
                        <a:pt x="1092" y="431"/>
                      </a:cubicBezTo>
                      <a:cubicBezTo>
                        <a:pt x="1374" y="431"/>
                        <a:pt x="1374" y="431"/>
                        <a:pt x="1374" y="431"/>
                      </a:cubicBezTo>
                      <a:cubicBezTo>
                        <a:pt x="1380" y="431"/>
                        <a:pt x="1384" y="427"/>
                        <a:pt x="1384" y="421"/>
                      </a:cubicBezTo>
                      <a:close/>
                    </a:path>
                  </a:pathLst>
                </a:custGeom>
                <a:solidFill>
                  <a:srgbClr val="98A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72849" name="Freeform 16"/>
                <p:cNvSpPr>
                  <a:spLocks noEditPoints="1"/>
                </p:cNvSpPr>
                <p:nvPr/>
              </p:nvSpPr>
              <p:spPr bwMode="auto">
                <a:xfrm>
                  <a:off x="5407149" y="2775204"/>
                  <a:ext cx="1379220" cy="1306068"/>
                </a:xfrm>
                <a:custGeom>
                  <a:avLst/>
                  <a:gdLst>
                    <a:gd name="T0" fmla="*/ 1204319 w 1932"/>
                    <a:gd name="T1" fmla="*/ 10717 h 1828"/>
                    <a:gd name="T2" fmla="*/ 1238585 w 1932"/>
                    <a:gd name="T3" fmla="*/ 419399 h 1828"/>
                    <a:gd name="T4" fmla="*/ 1227163 w 1932"/>
                    <a:gd name="T5" fmla="*/ 431546 h 1828"/>
                    <a:gd name="T6" fmla="*/ 1011571 w 1932"/>
                    <a:gd name="T7" fmla="*/ 431546 h 1828"/>
                    <a:gd name="T8" fmla="*/ 1000149 w 1932"/>
                    <a:gd name="T9" fmla="*/ 419399 h 1828"/>
                    <a:gd name="T10" fmla="*/ 1034415 w 1932"/>
                    <a:gd name="T11" fmla="*/ 10717 h 1828"/>
                    <a:gd name="T12" fmla="*/ 1045837 w 1932"/>
                    <a:gd name="T13" fmla="*/ 0 h 1828"/>
                    <a:gd name="T14" fmla="*/ 1192897 w 1932"/>
                    <a:gd name="T15" fmla="*/ 0 h 1828"/>
                    <a:gd name="T16" fmla="*/ 1204319 w 1932"/>
                    <a:gd name="T17" fmla="*/ 10717 h 1828"/>
                    <a:gd name="T18" fmla="*/ 1379220 w 1932"/>
                    <a:gd name="T19" fmla="*/ 1218902 h 1828"/>
                    <a:gd name="T20" fmla="*/ 1379220 w 1932"/>
                    <a:gd name="T21" fmla="*/ 1290349 h 1828"/>
                    <a:gd name="T22" fmla="*/ 1363515 w 1932"/>
                    <a:gd name="T23" fmla="*/ 1306068 h 1828"/>
                    <a:gd name="T24" fmla="*/ 15705 w 1932"/>
                    <a:gd name="T25" fmla="*/ 1306068 h 1828"/>
                    <a:gd name="T26" fmla="*/ 0 w 1932"/>
                    <a:gd name="T27" fmla="*/ 1290349 h 1828"/>
                    <a:gd name="T28" fmla="*/ 0 w 1932"/>
                    <a:gd name="T29" fmla="*/ 1218902 h 1828"/>
                    <a:gd name="T30" fmla="*/ 15705 w 1932"/>
                    <a:gd name="T31" fmla="*/ 1203183 h 1828"/>
                    <a:gd name="T32" fmla="*/ 69960 w 1932"/>
                    <a:gd name="T33" fmla="*/ 1203183 h 1828"/>
                    <a:gd name="T34" fmla="*/ 69960 w 1932"/>
                    <a:gd name="T35" fmla="*/ 1176747 h 1828"/>
                    <a:gd name="T36" fmla="*/ 85666 w 1932"/>
                    <a:gd name="T37" fmla="*/ 1161029 h 1828"/>
                    <a:gd name="T38" fmla="*/ 1293554 w 1932"/>
                    <a:gd name="T39" fmla="*/ 1161029 h 1828"/>
                    <a:gd name="T40" fmla="*/ 1309260 w 1932"/>
                    <a:gd name="T41" fmla="*/ 1176747 h 1828"/>
                    <a:gd name="T42" fmla="*/ 1309260 w 1932"/>
                    <a:gd name="T43" fmla="*/ 1203183 h 1828"/>
                    <a:gd name="T44" fmla="*/ 1363515 w 1932"/>
                    <a:gd name="T45" fmla="*/ 1203183 h 1828"/>
                    <a:gd name="T46" fmla="*/ 1379220 w 1932"/>
                    <a:gd name="T47" fmla="*/ 1218902 h 1828"/>
                    <a:gd name="T48" fmla="*/ 1293554 w 1932"/>
                    <a:gd name="T49" fmla="*/ 478701 h 1828"/>
                    <a:gd name="T50" fmla="*/ 1277849 w 1932"/>
                    <a:gd name="T51" fmla="*/ 462983 h 1828"/>
                    <a:gd name="T52" fmla="*/ 918052 w 1932"/>
                    <a:gd name="T53" fmla="*/ 462983 h 1828"/>
                    <a:gd name="T54" fmla="*/ 508998 w 1932"/>
                    <a:gd name="T55" fmla="*/ 327946 h 1828"/>
                    <a:gd name="T56" fmla="*/ 494720 w 1932"/>
                    <a:gd name="T57" fmla="*/ 330089 h 1828"/>
                    <a:gd name="T58" fmla="*/ 488295 w 1932"/>
                    <a:gd name="T59" fmla="*/ 342950 h 1828"/>
                    <a:gd name="T60" fmla="*/ 488295 w 1932"/>
                    <a:gd name="T61" fmla="*/ 455838 h 1828"/>
                    <a:gd name="T62" fmla="*/ 104941 w 1932"/>
                    <a:gd name="T63" fmla="*/ 327946 h 1828"/>
                    <a:gd name="T64" fmla="*/ 90663 w 1932"/>
                    <a:gd name="T65" fmla="*/ 330089 h 1828"/>
                    <a:gd name="T66" fmla="*/ 84238 w 1932"/>
                    <a:gd name="T67" fmla="*/ 342950 h 1828"/>
                    <a:gd name="T68" fmla="*/ 84238 w 1932"/>
                    <a:gd name="T69" fmla="*/ 1129592 h 1828"/>
                    <a:gd name="T70" fmla="*/ 115649 w 1932"/>
                    <a:gd name="T71" fmla="*/ 1129592 h 1828"/>
                    <a:gd name="T72" fmla="*/ 115649 w 1932"/>
                    <a:gd name="T73" fmla="*/ 364384 h 1828"/>
                    <a:gd name="T74" fmla="*/ 499004 w 1932"/>
                    <a:gd name="T75" fmla="*/ 492276 h 1828"/>
                    <a:gd name="T76" fmla="*/ 513281 w 1932"/>
                    <a:gd name="T77" fmla="*/ 490133 h 1828"/>
                    <a:gd name="T78" fmla="*/ 519706 w 1932"/>
                    <a:gd name="T79" fmla="*/ 477272 h 1828"/>
                    <a:gd name="T80" fmla="*/ 519706 w 1932"/>
                    <a:gd name="T81" fmla="*/ 364384 h 1828"/>
                    <a:gd name="T82" fmla="*/ 910200 w 1932"/>
                    <a:gd name="T83" fmla="*/ 493705 h 1828"/>
                    <a:gd name="T84" fmla="*/ 915197 w 1932"/>
                    <a:gd name="T85" fmla="*/ 494420 h 1828"/>
                    <a:gd name="T86" fmla="*/ 1262143 w 1932"/>
                    <a:gd name="T87" fmla="*/ 494420 h 1828"/>
                    <a:gd name="T88" fmla="*/ 1262143 w 1932"/>
                    <a:gd name="T89" fmla="*/ 1129592 h 1828"/>
                    <a:gd name="T90" fmla="*/ 1293554 w 1932"/>
                    <a:gd name="T91" fmla="*/ 1129592 h 1828"/>
                    <a:gd name="T92" fmla="*/ 1293554 w 1932"/>
                    <a:gd name="T93" fmla="*/ 478701 h 1828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932"/>
                    <a:gd name="T142" fmla="*/ 0 h 1828"/>
                    <a:gd name="T143" fmla="*/ 1932 w 1932"/>
                    <a:gd name="T144" fmla="*/ 1828 h 1828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932" h="1828">
                      <a:moveTo>
                        <a:pt x="1687" y="15"/>
                      </a:moveTo>
                      <a:cubicBezTo>
                        <a:pt x="1735" y="587"/>
                        <a:pt x="1735" y="587"/>
                        <a:pt x="1735" y="587"/>
                      </a:cubicBezTo>
                      <a:cubicBezTo>
                        <a:pt x="1736" y="596"/>
                        <a:pt x="1728" y="604"/>
                        <a:pt x="1719" y="604"/>
                      </a:cubicBezTo>
                      <a:cubicBezTo>
                        <a:pt x="1417" y="604"/>
                        <a:pt x="1417" y="604"/>
                        <a:pt x="1417" y="604"/>
                      </a:cubicBezTo>
                      <a:cubicBezTo>
                        <a:pt x="1407" y="604"/>
                        <a:pt x="1400" y="596"/>
                        <a:pt x="1401" y="587"/>
                      </a:cubicBezTo>
                      <a:cubicBezTo>
                        <a:pt x="1449" y="15"/>
                        <a:pt x="1449" y="15"/>
                        <a:pt x="1449" y="15"/>
                      </a:cubicBezTo>
                      <a:cubicBezTo>
                        <a:pt x="1450" y="6"/>
                        <a:pt x="1457" y="0"/>
                        <a:pt x="1465" y="0"/>
                      </a:cubicBezTo>
                      <a:cubicBezTo>
                        <a:pt x="1671" y="0"/>
                        <a:pt x="1671" y="0"/>
                        <a:pt x="1671" y="0"/>
                      </a:cubicBezTo>
                      <a:cubicBezTo>
                        <a:pt x="1679" y="0"/>
                        <a:pt x="1686" y="6"/>
                        <a:pt x="1687" y="15"/>
                      </a:cubicBezTo>
                      <a:close/>
                      <a:moveTo>
                        <a:pt x="1932" y="1706"/>
                      </a:moveTo>
                      <a:cubicBezTo>
                        <a:pt x="1932" y="1806"/>
                        <a:pt x="1932" y="1806"/>
                        <a:pt x="1932" y="1806"/>
                      </a:cubicBezTo>
                      <a:cubicBezTo>
                        <a:pt x="1932" y="1818"/>
                        <a:pt x="1923" y="1828"/>
                        <a:pt x="1910" y="1828"/>
                      </a:cubicBezTo>
                      <a:cubicBezTo>
                        <a:pt x="22" y="1828"/>
                        <a:pt x="22" y="1828"/>
                        <a:pt x="22" y="1828"/>
                      </a:cubicBezTo>
                      <a:cubicBezTo>
                        <a:pt x="9" y="1828"/>
                        <a:pt x="0" y="1818"/>
                        <a:pt x="0" y="1806"/>
                      </a:cubicBezTo>
                      <a:cubicBezTo>
                        <a:pt x="0" y="1706"/>
                        <a:pt x="0" y="1706"/>
                        <a:pt x="0" y="1706"/>
                      </a:cubicBezTo>
                      <a:cubicBezTo>
                        <a:pt x="0" y="1694"/>
                        <a:pt x="9" y="1684"/>
                        <a:pt x="22" y="1684"/>
                      </a:cubicBezTo>
                      <a:cubicBezTo>
                        <a:pt x="98" y="1684"/>
                        <a:pt x="98" y="1684"/>
                        <a:pt x="98" y="1684"/>
                      </a:cubicBezTo>
                      <a:cubicBezTo>
                        <a:pt x="98" y="1647"/>
                        <a:pt x="98" y="1647"/>
                        <a:pt x="98" y="1647"/>
                      </a:cubicBezTo>
                      <a:cubicBezTo>
                        <a:pt x="98" y="1635"/>
                        <a:pt x="108" y="1625"/>
                        <a:pt x="120" y="1625"/>
                      </a:cubicBezTo>
                      <a:cubicBezTo>
                        <a:pt x="1812" y="1625"/>
                        <a:pt x="1812" y="1625"/>
                        <a:pt x="1812" y="1625"/>
                      </a:cubicBezTo>
                      <a:cubicBezTo>
                        <a:pt x="1824" y="1625"/>
                        <a:pt x="1834" y="1635"/>
                        <a:pt x="1834" y="1647"/>
                      </a:cubicBezTo>
                      <a:cubicBezTo>
                        <a:pt x="1834" y="1684"/>
                        <a:pt x="1834" y="1684"/>
                        <a:pt x="1834" y="1684"/>
                      </a:cubicBezTo>
                      <a:cubicBezTo>
                        <a:pt x="1910" y="1684"/>
                        <a:pt x="1910" y="1684"/>
                        <a:pt x="1910" y="1684"/>
                      </a:cubicBezTo>
                      <a:cubicBezTo>
                        <a:pt x="1923" y="1684"/>
                        <a:pt x="1932" y="1694"/>
                        <a:pt x="1932" y="1706"/>
                      </a:cubicBezTo>
                      <a:close/>
                      <a:moveTo>
                        <a:pt x="1812" y="670"/>
                      </a:moveTo>
                      <a:cubicBezTo>
                        <a:pt x="1812" y="658"/>
                        <a:pt x="1802" y="648"/>
                        <a:pt x="1790" y="648"/>
                      </a:cubicBezTo>
                      <a:cubicBezTo>
                        <a:pt x="1286" y="648"/>
                        <a:pt x="1286" y="648"/>
                        <a:pt x="1286" y="648"/>
                      </a:cubicBezTo>
                      <a:cubicBezTo>
                        <a:pt x="713" y="459"/>
                        <a:pt x="713" y="459"/>
                        <a:pt x="713" y="459"/>
                      </a:cubicBezTo>
                      <a:cubicBezTo>
                        <a:pt x="706" y="457"/>
                        <a:pt x="699" y="458"/>
                        <a:pt x="693" y="462"/>
                      </a:cubicBezTo>
                      <a:cubicBezTo>
                        <a:pt x="687" y="466"/>
                        <a:pt x="684" y="473"/>
                        <a:pt x="684" y="480"/>
                      </a:cubicBezTo>
                      <a:cubicBezTo>
                        <a:pt x="684" y="638"/>
                        <a:pt x="684" y="638"/>
                        <a:pt x="684" y="638"/>
                      </a:cubicBezTo>
                      <a:cubicBezTo>
                        <a:pt x="147" y="459"/>
                        <a:pt x="147" y="459"/>
                        <a:pt x="147" y="459"/>
                      </a:cubicBezTo>
                      <a:cubicBezTo>
                        <a:pt x="140" y="457"/>
                        <a:pt x="133" y="458"/>
                        <a:pt x="127" y="462"/>
                      </a:cubicBezTo>
                      <a:cubicBezTo>
                        <a:pt x="121" y="466"/>
                        <a:pt x="118" y="473"/>
                        <a:pt x="118" y="480"/>
                      </a:cubicBezTo>
                      <a:cubicBezTo>
                        <a:pt x="118" y="1581"/>
                        <a:pt x="118" y="1581"/>
                        <a:pt x="118" y="1581"/>
                      </a:cubicBezTo>
                      <a:cubicBezTo>
                        <a:pt x="162" y="1581"/>
                        <a:pt x="162" y="1581"/>
                        <a:pt x="162" y="1581"/>
                      </a:cubicBezTo>
                      <a:cubicBezTo>
                        <a:pt x="162" y="510"/>
                        <a:pt x="162" y="510"/>
                        <a:pt x="162" y="510"/>
                      </a:cubicBezTo>
                      <a:cubicBezTo>
                        <a:pt x="699" y="689"/>
                        <a:pt x="699" y="689"/>
                        <a:pt x="699" y="689"/>
                      </a:cubicBezTo>
                      <a:cubicBezTo>
                        <a:pt x="706" y="691"/>
                        <a:pt x="713" y="690"/>
                        <a:pt x="719" y="686"/>
                      </a:cubicBezTo>
                      <a:cubicBezTo>
                        <a:pt x="725" y="682"/>
                        <a:pt x="728" y="675"/>
                        <a:pt x="728" y="668"/>
                      </a:cubicBezTo>
                      <a:cubicBezTo>
                        <a:pt x="728" y="510"/>
                        <a:pt x="728" y="510"/>
                        <a:pt x="728" y="510"/>
                      </a:cubicBezTo>
                      <a:cubicBezTo>
                        <a:pt x="1275" y="691"/>
                        <a:pt x="1275" y="691"/>
                        <a:pt x="1275" y="691"/>
                      </a:cubicBezTo>
                      <a:cubicBezTo>
                        <a:pt x="1277" y="692"/>
                        <a:pt x="1280" y="692"/>
                        <a:pt x="1282" y="692"/>
                      </a:cubicBezTo>
                      <a:cubicBezTo>
                        <a:pt x="1768" y="692"/>
                        <a:pt x="1768" y="692"/>
                        <a:pt x="1768" y="692"/>
                      </a:cubicBezTo>
                      <a:cubicBezTo>
                        <a:pt x="1768" y="1581"/>
                        <a:pt x="1768" y="1581"/>
                        <a:pt x="1768" y="1581"/>
                      </a:cubicBezTo>
                      <a:cubicBezTo>
                        <a:pt x="1812" y="1581"/>
                        <a:pt x="1812" y="1581"/>
                        <a:pt x="1812" y="1581"/>
                      </a:cubicBezTo>
                      <a:lnTo>
                        <a:pt x="1812" y="670"/>
                      </a:lnTo>
                      <a:close/>
                    </a:path>
                  </a:pathLst>
                </a:custGeom>
                <a:solidFill>
                  <a:srgbClr val="59595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72717" name="Group 151"/>
          <p:cNvGrpSpPr>
            <a:grpSpLocks/>
          </p:cNvGrpSpPr>
          <p:nvPr/>
        </p:nvGrpSpPr>
        <p:grpSpPr bwMode="auto">
          <a:xfrm>
            <a:off x="5534025" y="4368800"/>
            <a:ext cx="1127125" cy="1128713"/>
            <a:chOff x="5426333" y="4234235"/>
            <a:chExt cx="1127654" cy="1127656"/>
          </a:xfrm>
        </p:grpSpPr>
        <p:sp>
          <p:nvSpPr>
            <p:cNvPr id="3" name="Oval 2"/>
            <p:cNvSpPr/>
            <p:nvPr/>
          </p:nvSpPr>
          <p:spPr>
            <a:xfrm>
              <a:off x="542633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sym typeface="PT Sans Caption" panose="020B0603020203020204" pitchFamily="34" charset="0"/>
              </a:endParaRPr>
            </a:p>
          </p:txBody>
        </p:sp>
        <p:grpSp>
          <p:nvGrpSpPr>
            <p:cNvPr id="72837" name="Group 21"/>
            <p:cNvGrpSpPr>
              <a:grpSpLocks noChangeAspect="1"/>
            </p:cNvGrpSpPr>
            <p:nvPr/>
          </p:nvGrpSpPr>
          <p:grpSpPr bwMode="auto">
            <a:xfrm>
              <a:off x="5579060" y="4386583"/>
              <a:ext cx="822200" cy="822960"/>
              <a:chOff x="5273799" y="2606040"/>
              <a:chExt cx="1644396" cy="1645920"/>
            </a:xfrm>
          </p:grpSpPr>
          <p:sp>
            <p:nvSpPr>
              <p:cNvPr id="72838" name="AutoShape 28"/>
              <p:cNvSpPr>
                <a:spLocks noChangeAspect="1" noChangeArrowheads="1" noTextEdit="1"/>
              </p:cNvSpPr>
              <p:nvPr/>
            </p:nvSpPr>
            <p:spPr bwMode="auto">
              <a:xfrm>
                <a:off x="5273799" y="2606040"/>
                <a:ext cx="1644396" cy="16459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72839" name="Group 23"/>
              <p:cNvGrpSpPr>
                <a:grpSpLocks/>
              </p:cNvGrpSpPr>
              <p:nvPr/>
            </p:nvGrpSpPr>
            <p:grpSpPr bwMode="auto">
              <a:xfrm>
                <a:off x="5537070" y="2899029"/>
                <a:ext cx="1119378" cy="1182243"/>
                <a:chOff x="5537070" y="2899029"/>
                <a:chExt cx="1119378" cy="1182243"/>
              </a:xfrm>
            </p:grpSpPr>
            <p:sp>
              <p:nvSpPr>
                <p:cNvPr id="72840" name="Freeform 30"/>
                <p:cNvSpPr>
                  <a:spLocks noEditPoints="1"/>
                </p:cNvSpPr>
                <p:nvPr/>
              </p:nvSpPr>
              <p:spPr bwMode="auto">
                <a:xfrm>
                  <a:off x="5538594" y="2961894"/>
                  <a:ext cx="1116330" cy="961263"/>
                </a:xfrm>
                <a:custGeom>
                  <a:avLst/>
                  <a:gdLst>
                    <a:gd name="T0" fmla="*/ 536752 w 1564"/>
                    <a:gd name="T1" fmla="*/ 961263 h 1346"/>
                    <a:gd name="T2" fmla="*/ 341894 w 1564"/>
                    <a:gd name="T3" fmla="*/ 961263 h 1346"/>
                    <a:gd name="T4" fmla="*/ 334756 w 1564"/>
                    <a:gd name="T5" fmla="*/ 954121 h 1346"/>
                    <a:gd name="T6" fmla="*/ 334756 w 1564"/>
                    <a:gd name="T7" fmla="*/ 611323 h 1346"/>
                    <a:gd name="T8" fmla="*/ 341894 w 1564"/>
                    <a:gd name="T9" fmla="*/ 604182 h 1346"/>
                    <a:gd name="T10" fmla="*/ 536752 w 1564"/>
                    <a:gd name="T11" fmla="*/ 604182 h 1346"/>
                    <a:gd name="T12" fmla="*/ 543890 w 1564"/>
                    <a:gd name="T13" fmla="*/ 611323 h 1346"/>
                    <a:gd name="T14" fmla="*/ 543890 w 1564"/>
                    <a:gd name="T15" fmla="*/ 954121 h 1346"/>
                    <a:gd name="T16" fmla="*/ 536752 w 1564"/>
                    <a:gd name="T17" fmla="*/ 961263 h 1346"/>
                    <a:gd name="T18" fmla="*/ 781574 w 1564"/>
                    <a:gd name="T19" fmla="*/ 954121 h 1346"/>
                    <a:gd name="T20" fmla="*/ 781574 w 1564"/>
                    <a:gd name="T21" fmla="*/ 611323 h 1346"/>
                    <a:gd name="T22" fmla="*/ 774436 w 1564"/>
                    <a:gd name="T23" fmla="*/ 604182 h 1346"/>
                    <a:gd name="T24" fmla="*/ 579578 w 1564"/>
                    <a:gd name="T25" fmla="*/ 604182 h 1346"/>
                    <a:gd name="T26" fmla="*/ 572440 w 1564"/>
                    <a:gd name="T27" fmla="*/ 611323 h 1346"/>
                    <a:gd name="T28" fmla="*/ 572440 w 1564"/>
                    <a:gd name="T29" fmla="*/ 954121 h 1346"/>
                    <a:gd name="T30" fmla="*/ 579578 w 1564"/>
                    <a:gd name="T31" fmla="*/ 961263 h 1346"/>
                    <a:gd name="T32" fmla="*/ 774436 w 1564"/>
                    <a:gd name="T33" fmla="*/ 961263 h 1346"/>
                    <a:gd name="T34" fmla="*/ 781574 w 1564"/>
                    <a:gd name="T35" fmla="*/ 954121 h 1346"/>
                    <a:gd name="T36" fmla="*/ 1109192 w 1564"/>
                    <a:gd name="T37" fmla="*/ 265669 h 1346"/>
                    <a:gd name="T38" fmla="*/ 987852 w 1564"/>
                    <a:gd name="T39" fmla="*/ 12855 h 1346"/>
                    <a:gd name="T40" fmla="*/ 970722 w 1564"/>
                    <a:gd name="T41" fmla="*/ 0 h 1346"/>
                    <a:gd name="T42" fmla="*/ 146322 w 1564"/>
                    <a:gd name="T43" fmla="*/ 0 h 1346"/>
                    <a:gd name="T44" fmla="*/ 128478 w 1564"/>
                    <a:gd name="T45" fmla="*/ 14283 h 1346"/>
                    <a:gd name="T46" fmla="*/ 7138 w 1564"/>
                    <a:gd name="T47" fmla="*/ 264240 h 1346"/>
                    <a:gd name="T48" fmla="*/ 24268 w 1564"/>
                    <a:gd name="T49" fmla="*/ 291378 h 1346"/>
                    <a:gd name="T50" fmla="*/ 1092062 w 1564"/>
                    <a:gd name="T51" fmla="*/ 291378 h 1346"/>
                    <a:gd name="T52" fmla="*/ 1109192 w 1564"/>
                    <a:gd name="T53" fmla="*/ 265669 h 134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564"/>
                    <a:gd name="T82" fmla="*/ 0 h 1346"/>
                    <a:gd name="T83" fmla="*/ 1564 w 1564"/>
                    <a:gd name="T84" fmla="*/ 1346 h 134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564" h="1346">
                      <a:moveTo>
                        <a:pt x="752" y="1346"/>
                      </a:moveTo>
                      <a:cubicBezTo>
                        <a:pt x="479" y="1346"/>
                        <a:pt x="479" y="1346"/>
                        <a:pt x="479" y="1346"/>
                      </a:cubicBezTo>
                      <a:cubicBezTo>
                        <a:pt x="474" y="1346"/>
                        <a:pt x="469" y="1342"/>
                        <a:pt x="469" y="1336"/>
                      </a:cubicBezTo>
                      <a:cubicBezTo>
                        <a:pt x="469" y="856"/>
                        <a:pt x="469" y="856"/>
                        <a:pt x="469" y="856"/>
                      </a:cubicBezTo>
                      <a:cubicBezTo>
                        <a:pt x="469" y="851"/>
                        <a:pt x="474" y="846"/>
                        <a:pt x="479" y="846"/>
                      </a:cubicBezTo>
                      <a:cubicBezTo>
                        <a:pt x="752" y="846"/>
                        <a:pt x="752" y="846"/>
                        <a:pt x="752" y="846"/>
                      </a:cubicBezTo>
                      <a:cubicBezTo>
                        <a:pt x="758" y="846"/>
                        <a:pt x="762" y="851"/>
                        <a:pt x="762" y="856"/>
                      </a:cubicBezTo>
                      <a:cubicBezTo>
                        <a:pt x="762" y="1336"/>
                        <a:pt x="762" y="1336"/>
                        <a:pt x="762" y="1336"/>
                      </a:cubicBezTo>
                      <a:cubicBezTo>
                        <a:pt x="762" y="1342"/>
                        <a:pt x="758" y="1346"/>
                        <a:pt x="752" y="1346"/>
                      </a:cubicBezTo>
                      <a:close/>
                      <a:moveTo>
                        <a:pt x="1095" y="1336"/>
                      </a:moveTo>
                      <a:cubicBezTo>
                        <a:pt x="1095" y="856"/>
                        <a:pt x="1095" y="856"/>
                        <a:pt x="1095" y="856"/>
                      </a:cubicBezTo>
                      <a:cubicBezTo>
                        <a:pt x="1095" y="851"/>
                        <a:pt x="1090" y="846"/>
                        <a:pt x="1085" y="846"/>
                      </a:cubicBezTo>
                      <a:cubicBezTo>
                        <a:pt x="812" y="846"/>
                        <a:pt x="812" y="846"/>
                        <a:pt x="812" y="846"/>
                      </a:cubicBezTo>
                      <a:cubicBezTo>
                        <a:pt x="806" y="846"/>
                        <a:pt x="802" y="851"/>
                        <a:pt x="802" y="856"/>
                      </a:cubicBezTo>
                      <a:cubicBezTo>
                        <a:pt x="802" y="1336"/>
                        <a:pt x="802" y="1336"/>
                        <a:pt x="802" y="1336"/>
                      </a:cubicBezTo>
                      <a:cubicBezTo>
                        <a:pt x="802" y="1342"/>
                        <a:pt x="806" y="1346"/>
                        <a:pt x="812" y="1346"/>
                      </a:cubicBezTo>
                      <a:cubicBezTo>
                        <a:pt x="1085" y="1346"/>
                        <a:pt x="1085" y="1346"/>
                        <a:pt x="1085" y="1346"/>
                      </a:cubicBezTo>
                      <a:cubicBezTo>
                        <a:pt x="1090" y="1346"/>
                        <a:pt x="1095" y="1342"/>
                        <a:pt x="1095" y="1336"/>
                      </a:cubicBezTo>
                      <a:close/>
                      <a:moveTo>
                        <a:pt x="1554" y="372"/>
                      </a:moveTo>
                      <a:cubicBezTo>
                        <a:pt x="1384" y="18"/>
                        <a:pt x="1384" y="18"/>
                        <a:pt x="1384" y="18"/>
                      </a:cubicBezTo>
                      <a:cubicBezTo>
                        <a:pt x="1379" y="9"/>
                        <a:pt x="1370" y="0"/>
                        <a:pt x="1360" y="0"/>
                      </a:cubicBezTo>
                      <a:cubicBezTo>
                        <a:pt x="205" y="0"/>
                        <a:pt x="205" y="0"/>
                        <a:pt x="205" y="0"/>
                      </a:cubicBezTo>
                      <a:cubicBezTo>
                        <a:pt x="194" y="0"/>
                        <a:pt x="185" y="11"/>
                        <a:pt x="180" y="20"/>
                      </a:cubicBezTo>
                      <a:cubicBezTo>
                        <a:pt x="10" y="370"/>
                        <a:pt x="10" y="370"/>
                        <a:pt x="10" y="370"/>
                      </a:cubicBezTo>
                      <a:cubicBezTo>
                        <a:pt x="0" y="388"/>
                        <a:pt x="14" y="408"/>
                        <a:pt x="34" y="408"/>
                      </a:cubicBezTo>
                      <a:cubicBezTo>
                        <a:pt x="1530" y="408"/>
                        <a:pt x="1530" y="408"/>
                        <a:pt x="1530" y="408"/>
                      </a:cubicBezTo>
                      <a:cubicBezTo>
                        <a:pt x="1551" y="408"/>
                        <a:pt x="1564" y="391"/>
                        <a:pt x="1554" y="372"/>
                      </a:cubicBezTo>
                      <a:close/>
                    </a:path>
                  </a:pathLst>
                </a:custGeom>
                <a:solidFill>
                  <a:srgbClr val="98A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72841" name="Freeform 31"/>
                <p:cNvSpPr>
                  <a:spLocks noEditPoints="1"/>
                </p:cNvSpPr>
                <p:nvPr/>
              </p:nvSpPr>
              <p:spPr bwMode="auto">
                <a:xfrm>
                  <a:off x="5537070" y="2899029"/>
                  <a:ext cx="1119378" cy="1182243"/>
                </a:xfrm>
                <a:custGeom>
                  <a:avLst/>
                  <a:gdLst>
                    <a:gd name="T0" fmla="*/ 1087967 w 1568"/>
                    <a:gd name="T1" fmla="*/ 1092235 h 1655"/>
                    <a:gd name="T2" fmla="*/ 1041564 w 1568"/>
                    <a:gd name="T3" fmla="*/ 1092235 h 1655"/>
                    <a:gd name="T4" fmla="*/ 1041564 w 1568"/>
                    <a:gd name="T5" fmla="*/ 1071519 h 1655"/>
                    <a:gd name="T6" fmla="*/ 1026572 w 1568"/>
                    <a:gd name="T7" fmla="*/ 1055804 h 1655"/>
                    <a:gd name="T8" fmla="*/ 92806 w 1568"/>
                    <a:gd name="T9" fmla="*/ 1055804 h 1655"/>
                    <a:gd name="T10" fmla="*/ 77814 w 1568"/>
                    <a:gd name="T11" fmla="*/ 1071519 h 1655"/>
                    <a:gd name="T12" fmla="*/ 77814 w 1568"/>
                    <a:gd name="T13" fmla="*/ 1092235 h 1655"/>
                    <a:gd name="T14" fmla="*/ 31411 w 1568"/>
                    <a:gd name="T15" fmla="*/ 1092235 h 1655"/>
                    <a:gd name="T16" fmla="*/ 16419 w 1568"/>
                    <a:gd name="T17" fmla="*/ 1107951 h 1655"/>
                    <a:gd name="T18" fmla="*/ 16419 w 1568"/>
                    <a:gd name="T19" fmla="*/ 1167242 h 1655"/>
                    <a:gd name="T20" fmla="*/ 31411 w 1568"/>
                    <a:gd name="T21" fmla="*/ 1182243 h 1655"/>
                    <a:gd name="T22" fmla="*/ 1087967 w 1568"/>
                    <a:gd name="T23" fmla="*/ 1182243 h 1655"/>
                    <a:gd name="T24" fmla="*/ 1102959 w 1568"/>
                    <a:gd name="T25" fmla="*/ 1167242 h 1655"/>
                    <a:gd name="T26" fmla="*/ 1102959 w 1568"/>
                    <a:gd name="T27" fmla="*/ 1107951 h 1655"/>
                    <a:gd name="T28" fmla="*/ 1087967 w 1568"/>
                    <a:gd name="T29" fmla="*/ 1092235 h 1655"/>
                    <a:gd name="T30" fmla="*/ 1119378 w 1568"/>
                    <a:gd name="T31" fmla="*/ 401463 h 1655"/>
                    <a:gd name="T32" fmla="*/ 1119378 w 1568"/>
                    <a:gd name="T33" fmla="*/ 416464 h 1655"/>
                    <a:gd name="T34" fmla="*/ 1119378 w 1568"/>
                    <a:gd name="T35" fmla="*/ 416464 h 1655"/>
                    <a:gd name="T36" fmla="*/ 995161 w 1568"/>
                    <a:gd name="T37" fmla="*/ 555761 h 1655"/>
                    <a:gd name="T38" fmla="*/ 995161 w 1568"/>
                    <a:gd name="T39" fmla="*/ 1024373 h 1655"/>
                    <a:gd name="T40" fmla="*/ 963750 w 1568"/>
                    <a:gd name="T41" fmla="*/ 1024373 h 1655"/>
                    <a:gd name="T42" fmla="*/ 963750 w 1568"/>
                    <a:gd name="T43" fmla="*/ 555761 h 1655"/>
                    <a:gd name="T44" fmla="*/ 839534 w 1568"/>
                    <a:gd name="T45" fmla="*/ 420036 h 1655"/>
                    <a:gd name="T46" fmla="*/ 699611 w 1568"/>
                    <a:gd name="T47" fmla="*/ 556476 h 1655"/>
                    <a:gd name="T48" fmla="*/ 559689 w 1568"/>
                    <a:gd name="T49" fmla="*/ 420036 h 1655"/>
                    <a:gd name="T50" fmla="*/ 419767 w 1568"/>
                    <a:gd name="T51" fmla="*/ 556476 h 1655"/>
                    <a:gd name="T52" fmla="*/ 279845 w 1568"/>
                    <a:gd name="T53" fmla="*/ 420036 h 1655"/>
                    <a:gd name="T54" fmla="*/ 155628 w 1568"/>
                    <a:gd name="T55" fmla="*/ 555761 h 1655"/>
                    <a:gd name="T56" fmla="*/ 155628 w 1568"/>
                    <a:gd name="T57" fmla="*/ 1024373 h 1655"/>
                    <a:gd name="T58" fmla="*/ 124217 w 1568"/>
                    <a:gd name="T59" fmla="*/ 1024373 h 1655"/>
                    <a:gd name="T60" fmla="*/ 124217 w 1568"/>
                    <a:gd name="T61" fmla="*/ 555761 h 1655"/>
                    <a:gd name="T62" fmla="*/ 0 w 1568"/>
                    <a:gd name="T63" fmla="*/ 416464 h 1655"/>
                    <a:gd name="T64" fmla="*/ 0 w 1568"/>
                    <a:gd name="T65" fmla="*/ 416464 h 1655"/>
                    <a:gd name="T66" fmla="*/ 0 w 1568"/>
                    <a:gd name="T67" fmla="*/ 401463 h 1655"/>
                    <a:gd name="T68" fmla="*/ 15706 w 1568"/>
                    <a:gd name="T69" fmla="*/ 385747 h 1655"/>
                    <a:gd name="T70" fmla="*/ 1103672 w 1568"/>
                    <a:gd name="T71" fmla="*/ 385747 h 1655"/>
                    <a:gd name="T72" fmla="*/ 1119378 w 1568"/>
                    <a:gd name="T73" fmla="*/ 401463 h 1655"/>
                    <a:gd name="T74" fmla="*/ 966606 w 1568"/>
                    <a:gd name="T75" fmla="*/ 31431 h 1655"/>
                    <a:gd name="T76" fmla="*/ 152772 w 1568"/>
                    <a:gd name="T77" fmla="*/ 31431 h 1655"/>
                    <a:gd name="T78" fmla="*/ 137067 w 1568"/>
                    <a:gd name="T79" fmla="*/ 15716 h 1655"/>
                    <a:gd name="T80" fmla="*/ 152772 w 1568"/>
                    <a:gd name="T81" fmla="*/ 0 h 1655"/>
                    <a:gd name="T82" fmla="*/ 966606 w 1568"/>
                    <a:gd name="T83" fmla="*/ 0 h 1655"/>
                    <a:gd name="T84" fmla="*/ 982311 w 1568"/>
                    <a:gd name="T85" fmla="*/ 15716 h 1655"/>
                    <a:gd name="T86" fmla="*/ 966606 w 1568"/>
                    <a:gd name="T87" fmla="*/ 31431 h 1655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568"/>
                    <a:gd name="T133" fmla="*/ 0 h 1655"/>
                    <a:gd name="T134" fmla="*/ 1568 w 1568"/>
                    <a:gd name="T135" fmla="*/ 1655 h 1655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568" h="1655">
                      <a:moveTo>
                        <a:pt x="1524" y="1529"/>
                      </a:moveTo>
                      <a:cubicBezTo>
                        <a:pt x="1459" y="1529"/>
                        <a:pt x="1459" y="1529"/>
                        <a:pt x="1459" y="1529"/>
                      </a:cubicBezTo>
                      <a:cubicBezTo>
                        <a:pt x="1459" y="1500"/>
                        <a:pt x="1459" y="1500"/>
                        <a:pt x="1459" y="1500"/>
                      </a:cubicBezTo>
                      <a:cubicBezTo>
                        <a:pt x="1459" y="1488"/>
                        <a:pt x="1450" y="1478"/>
                        <a:pt x="1438" y="1478"/>
                      </a:cubicBezTo>
                      <a:cubicBezTo>
                        <a:pt x="130" y="1478"/>
                        <a:pt x="130" y="1478"/>
                        <a:pt x="130" y="1478"/>
                      </a:cubicBezTo>
                      <a:cubicBezTo>
                        <a:pt x="118" y="1478"/>
                        <a:pt x="109" y="1488"/>
                        <a:pt x="109" y="1500"/>
                      </a:cubicBezTo>
                      <a:cubicBezTo>
                        <a:pt x="109" y="1529"/>
                        <a:pt x="109" y="1529"/>
                        <a:pt x="109" y="1529"/>
                      </a:cubicBezTo>
                      <a:cubicBezTo>
                        <a:pt x="44" y="1529"/>
                        <a:pt x="44" y="1529"/>
                        <a:pt x="44" y="1529"/>
                      </a:cubicBezTo>
                      <a:cubicBezTo>
                        <a:pt x="32" y="1529"/>
                        <a:pt x="23" y="1539"/>
                        <a:pt x="23" y="1551"/>
                      </a:cubicBezTo>
                      <a:cubicBezTo>
                        <a:pt x="23" y="1634"/>
                        <a:pt x="23" y="1634"/>
                        <a:pt x="23" y="1634"/>
                      </a:cubicBezTo>
                      <a:cubicBezTo>
                        <a:pt x="23" y="1646"/>
                        <a:pt x="32" y="1655"/>
                        <a:pt x="44" y="1655"/>
                      </a:cubicBezTo>
                      <a:cubicBezTo>
                        <a:pt x="1524" y="1655"/>
                        <a:pt x="1524" y="1655"/>
                        <a:pt x="1524" y="1655"/>
                      </a:cubicBezTo>
                      <a:cubicBezTo>
                        <a:pt x="1536" y="1655"/>
                        <a:pt x="1545" y="1646"/>
                        <a:pt x="1545" y="1634"/>
                      </a:cubicBezTo>
                      <a:cubicBezTo>
                        <a:pt x="1545" y="1551"/>
                        <a:pt x="1545" y="1551"/>
                        <a:pt x="1545" y="1551"/>
                      </a:cubicBezTo>
                      <a:cubicBezTo>
                        <a:pt x="1545" y="1539"/>
                        <a:pt x="1536" y="1529"/>
                        <a:pt x="1524" y="1529"/>
                      </a:cubicBezTo>
                      <a:close/>
                      <a:moveTo>
                        <a:pt x="1568" y="562"/>
                      </a:moveTo>
                      <a:cubicBezTo>
                        <a:pt x="1568" y="583"/>
                        <a:pt x="1568" y="583"/>
                        <a:pt x="1568" y="583"/>
                      </a:cubicBezTo>
                      <a:cubicBezTo>
                        <a:pt x="1568" y="583"/>
                        <a:pt x="1568" y="583"/>
                        <a:pt x="1568" y="583"/>
                      </a:cubicBezTo>
                      <a:cubicBezTo>
                        <a:pt x="1568" y="684"/>
                        <a:pt x="1491" y="767"/>
                        <a:pt x="1394" y="778"/>
                      </a:cubicBezTo>
                      <a:cubicBezTo>
                        <a:pt x="1394" y="1434"/>
                        <a:pt x="1394" y="1434"/>
                        <a:pt x="1394" y="1434"/>
                      </a:cubicBezTo>
                      <a:cubicBezTo>
                        <a:pt x="1350" y="1434"/>
                        <a:pt x="1350" y="1434"/>
                        <a:pt x="1350" y="1434"/>
                      </a:cubicBezTo>
                      <a:cubicBezTo>
                        <a:pt x="1350" y="778"/>
                        <a:pt x="1350" y="778"/>
                        <a:pt x="1350" y="778"/>
                      </a:cubicBezTo>
                      <a:cubicBezTo>
                        <a:pt x="1253" y="767"/>
                        <a:pt x="1178" y="687"/>
                        <a:pt x="1176" y="588"/>
                      </a:cubicBezTo>
                      <a:cubicBezTo>
                        <a:pt x="1173" y="694"/>
                        <a:pt x="1086" y="779"/>
                        <a:pt x="980" y="779"/>
                      </a:cubicBezTo>
                      <a:cubicBezTo>
                        <a:pt x="873" y="779"/>
                        <a:pt x="787" y="694"/>
                        <a:pt x="784" y="588"/>
                      </a:cubicBezTo>
                      <a:cubicBezTo>
                        <a:pt x="781" y="694"/>
                        <a:pt x="695" y="779"/>
                        <a:pt x="588" y="779"/>
                      </a:cubicBezTo>
                      <a:cubicBezTo>
                        <a:pt x="482" y="779"/>
                        <a:pt x="395" y="694"/>
                        <a:pt x="392" y="588"/>
                      </a:cubicBezTo>
                      <a:cubicBezTo>
                        <a:pt x="390" y="687"/>
                        <a:pt x="315" y="767"/>
                        <a:pt x="218" y="778"/>
                      </a:cubicBezTo>
                      <a:cubicBezTo>
                        <a:pt x="218" y="1434"/>
                        <a:pt x="218" y="1434"/>
                        <a:pt x="218" y="1434"/>
                      </a:cubicBezTo>
                      <a:cubicBezTo>
                        <a:pt x="174" y="1434"/>
                        <a:pt x="174" y="1434"/>
                        <a:pt x="174" y="1434"/>
                      </a:cubicBezTo>
                      <a:cubicBezTo>
                        <a:pt x="174" y="778"/>
                        <a:pt x="174" y="778"/>
                        <a:pt x="174" y="778"/>
                      </a:cubicBezTo>
                      <a:cubicBezTo>
                        <a:pt x="77" y="767"/>
                        <a:pt x="0" y="684"/>
                        <a:pt x="0" y="583"/>
                      </a:cubicBezTo>
                      <a:cubicBezTo>
                        <a:pt x="0" y="583"/>
                        <a:pt x="0" y="583"/>
                        <a:pt x="0" y="583"/>
                      </a:cubicBezTo>
                      <a:cubicBezTo>
                        <a:pt x="0" y="562"/>
                        <a:pt x="0" y="562"/>
                        <a:pt x="0" y="562"/>
                      </a:cubicBezTo>
                      <a:cubicBezTo>
                        <a:pt x="0" y="549"/>
                        <a:pt x="10" y="540"/>
                        <a:pt x="22" y="540"/>
                      </a:cubicBezTo>
                      <a:cubicBezTo>
                        <a:pt x="1546" y="540"/>
                        <a:pt x="1546" y="540"/>
                        <a:pt x="1546" y="540"/>
                      </a:cubicBezTo>
                      <a:cubicBezTo>
                        <a:pt x="1558" y="540"/>
                        <a:pt x="1568" y="549"/>
                        <a:pt x="1568" y="562"/>
                      </a:cubicBezTo>
                      <a:close/>
                      <a:moveTo>
                        <a:pt x="1354" y="44"/>
                      </a:moveTo>
                      <a:cubicBezTo>
                        <a:pt x="214" y="44"/>
                        <a:pt x="214" y="44"/>
                        <a:pt x="214" y="44"/>
                      </a:cubicBezTo>
                      <a:cubicBezTo>
                        <a:pt x="202" y="44"/>
                        <a:pt x="192" y="34"/>
                        <a:pt x="192" y="22"/>
                      </a:cubicBezTo>
                      <a:cubicBezTo>
                        <a:pt x="192" y="10"/>
                        <a:pt x="202" y="0"/>
                        <a:pt x="214" y="0"/>
                      </a:cubicBezTo>
                      <a:cubicBezTo>
                        <a:pt x="1354" y="0"/>
                        <a:pt x="1354" y="0"/>
                        <a:pt x="1354" y="0"/>
                      </a:cubicBezTo>
                      <a:cubicBezTo>
                        <a:pt x="1366" y="0"/>
                        <a:pt x="1376" y="10"/>
                        <a:pt x="1376" y="22"/>
                      </a:cubicBezTo>
                      <a:cubicBezTo>
                        <a:pt x="1376" y="34"/>
                        <a:pt x="1366" y="44"/>
                        <a:pt x="1354" y="44"/>
                      </a:cubicBezTo>
                      <a:close/>
                    </a:path>
                  </a:pathLst>
                </a:custGeom>
                <a:solidFill>
                  <a:srgbClr val="59595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72718" name="Group 150"/>
          <p:cNvGrpSpPr>
            <a:grpSpLocks/>
          </p:cNvGrpSpPr>
          <p:nvPr/>
        </p:nvGrpSpPr>
        <p:grpSpPr bwMode="auto">
          <a:xfrm>
            <a:off x="7786688" y="4368800"/>
            <a:ext cx="1127125" cy="1128713"/>
            <a:chOff x="7678553" y="4234235"/>
            <a:chExt cx="1127654" cy="1127656"/>
          </a:xfrm>
        </p:grpSpPr>
        <p:sp>
          <p:nvSpPr>
            <p:cNvPr id="5" name="Oval 4"/>
            <p:cNvSpPr/>
            <p:nvPr/>
          </p:nvSpPr>
          <p:spPr>
            <a:xfrm>
              <a:off x="7678553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sym typeface="PT Sans Caption" panose="020B0603020203020204" pitchFamily="34" charset="0"/>
              </a:endParaRPr>
            </a:p>
          </p:txBody>
        </p:sp>
        <p:grpSp>
          <p:nvGrpSpPr>
            <p:cNvPr id="72830" name="bcgIcons_CashRegister"/>
            <p:cNvGrpSpPr>
              <a:grpSpLocks noChangeAspect="1"/>
            </p:cNvGrpSpPr>
            <p:nvPr/>
          </p:nvGrpSpPr>
          <p:grpSpPr bwMode="auto">
            <a:xfrm>
              <a:off x="7831280" y="4386583"/>
              <a:ext cx="822200" cy="822960"/>
              <a:chOff x="1682" y="0"/>
              <a:chExt cx="4316" cy="4320"/>
            </a:xfrm>
          </p:grpSpPr>
          <p:sp>
            <p:nvSpPr>
              <p:cNvPr id="72831" name="AutoShape 23"/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832" name="Freeform 25"/>
              <p:cNvSpPr>
                <a:spLocks noEditPoints="1"/>
              </p:cNvSpPr>
              <p:nvPr/>
            </p:nvSpPr>
            <p:spPr bwMode="auto">
              <a:xfrm>
                <a:off x="3008" y="844"/>
                <a:ext cx="1926" cy="1665"/>
              </a:xfrm>
              <a:custGeom>
                <a:avLst/>
                <a:gdLst>
                  <a:gd name="T0" fmla="*/ 41 w 1028"/>
                  <a:gd name="T1" fmla="*/ 971 h 888"/>
                  <a:gd name="T2" fmla="*/ 41 w 1028"/>
                  <a:gd name="T3" fmla="*/ 889 h 888"/>
                  <a:gd name="T4" fmla="*/ 452 w 1028"/>
                  <a:gd name="T5" fmla="*/ 930 h 888"/>
                  <a:gd name="T6" fmla="*/ 452 w 1028"/>
                  <a:gd name="T7" fmla="*/ 750 h 888"/>
                  <a:gd name="T8" fmla="*/ 41 w 1028"/>
                  <a:gd name="T9" fmla="*/ 709 h 888"/>
                  <a:gd name="T10" fmla="*/ 41 w 1028"/>
                  <a:gd name="T11" fmla="*/ 791 h 888"/>
                  <a:gd name="T12" fmla="*/ 452 w 1028"/>
                  <a:gd name="T13" fmla="*/ 750 h 888"/>
                  <a:gd name="T14" fmla="*/ 410 w 1028"/>
                  <a:gd name="T15" fmla="*/ 527 h 888"/>
                  <a:gd name="T16" fmla="*/ 0 w 1028"/>
                  <a:gd name="T17" fmla="*/ 568 h 888"/>
                  <a:gd name="T18" fmla="*/ 410 w 1028"/>
                  <a:gd name="T19" fmla="*/ 609 h 888"/>
                  <a:gd name="T20" fmla="*/ 452 w 1028"/>
                  <a:gd name="T21" fmla="*/ 388 h 888"/>
                  <a:gd name="T22" fmla="*/ 41 w 1028"/>
                  <a:gd name="T23" fmla="*/ 347 h 888"/>
                  <a:gd name="T24" fmla="*/ 41 w 1028"/>
                  <a:gd name="T25" fmla="*/ 429 h 888"/>
                  <a:gd name="T26" fmla="*/ 452 w 1028"/>
                  <a:gd name="T27" fmla="*/ 388 h 888"/>
                  <a:gd name="T28" fmla="*/ 1926 w 1028"/>
                  <a:gd name="T29" fmla="*/ 728 h 888"/>
                  <a:gd name="T30" fmla="*/ 1038 w 1028"/>
                  <a:gd name="T31" fmla="*/ 709 h 888"/>
                  <a:gd name="T32" fmla="*/ 1019 w 1028"/>
                  <a:gd name="T33" fmla="*/ 992 h 888"/>
                  <a:gd name="T34" fmla="*/ 1907 w 1028"/>
                  <a:gd name="T35" fmla="*/ 1011 h 888"/>
                  <a:gd name="T36" fmla="*/ 1904 w 1028"/>
                  <a:gd name="T37" fmla="*/ 255 h 888"/>
                  <a:gd name="T38" fmla="*/ 1885 w 1028"/>
                  <a:gd name="T39" fmla="*/ 0 h 888"/>
                  <a:gd name="T40" fmla="*/ 1042 w 1028"/>
                  <a:gd name="T41" fmla="*/ 19 h 888"/>
                  <a:gd name="T42" fmla="*/ 1060 w 1028"/>
                  <a:gd name="T43" fmla="*/ 274 h 888"/>
                  <a:gd name="T44" fmla="*/ 1904 w 1028"/>
                  <a:gd name="T45" fmla="*/ 255 h 888"/>
                  <a:gd name="T46" fmla="*/ 1267 w 1028"/>
                  <a:gd name="T47" fmla="*/ 1157 h 888"/>
                  <a:gd name="T48" fmla="*/ 1113 w 1028"/>
                  <a:gd name="T49" fmla="*/ 1116 h 888"/>
                  <a:gd name="T50" fmla="*/ 1072 w 1028"/>
                  <a:gd name="T51" fmla="*/ 1196 h 888"/>
                  <a:gd name="T52" fmla="*/ 1225 w 1028"/>
                  <a:gd name="T53" fmla="*/ 1238 h 888"/>
                  <a:gd name="T54" fmla="*/ 1579 w 1028"/>
                  <a:gd name="T55" fmla="*/ 1196 h 888"/>
                  <a:gd name="T56" fmla="*/ 1538 w 1028"/>
                  <a:gd name="T57" fmla="*/ 1116 h 888"/>
                  <a:gd name="T58" fmla="*/ 1383 w 1028"/>
                  <a:gd name="T59" fmla="*/ 1157 h 888"/>
                  <a:gd name="T60" fmla="*/ 1424 w 1028"/>
                  <a:gd name="T61" fmla="*/ 1238 h 888"/>
                  <a:gd name="T62" fmla="*/ 1579 w 1028"/>
                  <a:gd name="T63" fmla="*/ 1196 h 888"/>
                  <a:gd name="T64" fmla="*/ 1267 w 1028"/>
                  <a:gd name="T65" fmla="*/ 1371 h 888"/>
                  <a:gd name="T66" fmla="*/ 1113 w 1028"/>
                  <a:gd name="T67" fmla="*/ 1329 h 888"/>
                  <a:gd name="T68" fmla="*/ 1072 w 1028"/>
                  <a:gd name="T69" fmla="*/ 1410 h 888"/>
                  <a:gd name="T70" fmla="*/ 1225 w 1028"/>
                  <a:gd name="T71" fmla="*/ 1451 h 888"/>
                  <a:gd name="T72" fmla="*/ 1579 w 1028"/>
                  <a:gd name="T73" fmla="*/ 1410 h 888"/>
                  <a:gd name="T74" fmla="*/ 1538 w 1028"/>
                  <a:gd name="T75" fmla="*/ 1329 h 888"/>
                  <a:gd name="T76" fmla="*/ 1383 w 1028"/>
                  <a:gd name="T77" fmla="*/ 1371 h 888"/>
                  <a:gd name="T78" fmla="*/ 1424 w 1028"/>
                  <a:gd name="T79" fmla="*/ 1451 h 888"/>
                  <a:gd name="T80" fmla="*/ 1579 w 1028"/>
                  <a:gd name="T81" fmla="*/ 1410 h 888"/>
                  <a:gd name="T82" fmla="*/ 1267 w 1028"/>
                  <a:gd name="T83" fmla="*/ 1584 h 888"/>
                  <a:gd name="T84" fmla="*/ 1113 w 1028"/>
                  <a:gd name="T85" fmla="*/ 1543 h 888"/>
                  <a:gd name="T86" fmla="*/ 1072 w 1028"/>
                  <a:gd name="T87" fmla="*/ 1624 h 888"/>
                  <a:gd name="T88" fmla="*/ 1225 w 1028"/>
                  <a:gd name="T89" fmla="*/ 1665 h 888"/>
                  <a:gd name="T90" fmla="*/ 1579 w 1028"/>
                  <a:gd name="T91" fmla="*/ 1624 h 888"/>
                  <a:gd name="T92" fmla="*/ 1538 w 1028"/>
                  <a:gd name="T93" fmla="*/ 1543 h 888"/>
                  <a:gd name="T94" fmla="*/ 1383 w 1028"/>
                  <a:gd name="T95" fmla="*/ 1584 h 888"/>
                  <a:gd name="T96" fmla="*/ 1424 w 1028"/>
                  <a:gd name="T97" fmla="*/ 1665 h 888"/>
                  <a:gd name="T98" fmla="*/ 1579 w 1028"/>
                  <a:gd name="T99" fmla="*/ 1624 h 88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028"/>
                  <a:gd name="T151" fmla="*/ 0 h 888"/>
                  <a:gd name="T152" fmla="*/ 1028 w 1028"/>
                  <a:gd name="T153" fmla="*/ 888 h 88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028" h="888">
                    <a:moveTo>
                      <a:pt x="219" y="518"/>
                    </a:moveTo>
                    <a:cubicBezTo>
                      <a:pt x="22" y="518"/>
                      <a:pt x="22" y="518"/>
                      <a:pt x="22" y="518"/>
                    </a:cubicBezTo>
                    <a:cubicBezTo>
                      <a:pt x="10" y="518"/>
                      <a:pt x="0" y="508"/>
                      <a:pt x="0" y="496"/>
                    </a:cubicBezTo>
                    <a:cubicBezTo>
                      <a:pt x="0" y="484"/>
                      <a:pt x="10" y="474"/>
                      <a:pt x="22" y="474"/>
                    </a:cubicBezTo>
                    <a:cubicBezTo>
                      <a:pt x="219" y="474"/>
                      <a:pt x="219" y="474"/>
                      <a:pt x="219" y="474"/>
                    </a:cubicBezTo>
                    <a:cubicBezTo>
                      <a:pt x="231" y="474"/>
                      <a:pt x="241" y="484"/>
                      <a:pt x="241" y="496"/>
                    </a:cubicBezTo>
                    <a:cubicBezTo>
                      <a:pt x="241" y="508"/>
                      <a:pt x="231" y="518"/>
                      <a:pt x="219" y="518"/>
                    </a:cubicBezTo>
                    <a:close/>
                    <a:moveTo>
                      <a:pt x="241" y="400"/>
                    </a:moveTo>
                    <a:cubicBezTo>
                      <a:pt x="241" y="388"/>
                      <a:pt x="231" y="378"/>
                      <a:pt x="219" y="378"/>
                    </a:cubicBezTo>
                    <a:cubicBezTo>
                      <a:pt x="22" y="378"/>
                      <a:pt x="22" y="378"/>
                      <a:pt x="22" y="378"/>
                    </a:cubicBezTo>
                    <a:cubicBezTo>
                      <a:pt x="10" y="378"/>
                      <a:pt x="0" y="388"/>
                      <a:pt x="0" y="400"/>
                    </a:cubicBezTo>
                    <a:cubicBezTo>
                      <a:pt x="0" y="412"/>
                      <a:pt x="10" y="422"/>
                      <a:pt x="22" y="422"/>
                    </a:cubicBezTo>
                    <a:cubicBezTo>
                      <a:pt x="219" y="422"/>
                      <a:pt x="219" y="422"/>
                      <a:pt x="219" y="422"/>
                    </a:cubicBezTo>
                    <a:cubicBezTo>
                      <a:pt x="231" y="422"/>
                      <a:pt x="241" y="412"/>
                      <a:pt x="241" y="400"/>
                    </a:cubicBezTo>
                    <a:close/>
                    <a:moveTo>
                      <a:pt x="241" y="303"/>
                    </a:moveTo>
                    <a:cubicBezTo>
                      <a:pt x="241" y="291"/>
                      <a:pt x="231" y="281"/>
                      <a:pt x="219" y="281"/>
                    </a:cubicBezTo>
                    <a:cubicBezTo>
                      <a:pt x="22" y="281"/>
                      <a:pt x="22" y="281"/>
                      <a:pt x="22" y="281"/>
                    </a:cubicBezTo>
                    <a:cubicBezTo>
                      <a:pt x="10" y="281"/>
                      <a:pt x="0" y="291"/>
                      <a:pt x="0" y="303"/>
                    </a:cubicBezTo>
                    <a:cubicBezTo>
                      <a:pt x="0" y="316"/>
                      <a:pt x="10" y="325"/>
                      <a:pt x="22" y="325"/>
                    </a:cubicBezTo>
                    <a:cubicBezTo>
                      <a:pt x="219" y="325"/>
                      <a:pt x="219" y="325"/>
                      <a:pt x="219" y="325"/>
                    </a:cubicBezTo>
                    <a:cubicBezTo>
                      <a:pt x="231" y="325"/>
                      <a:pt x="241" y="316"/>
                      <a:pt x="241" y="303"/>
                    </a:cubicBezTo>
                    <a:close/>
                    <a:moveTo>
                      <a:pt x="241" y="207"/>
                    </a:moveTo>
                    <a:cubicBezTo>
                      <a:pt x="241" y="195"/>
                      <a:pt x="231" y="185"/>
                      <a:pt x="219" y="185"/>
                    </a:cubicBezTo>
                    <a:cubicBezTo>
                      <a:pt x="22" y="185"/>
                      <a:pt x="22" y="185"/>
                      <a:pt x="22" y="185"/>
                    </a:cubicBezTo>
                    <a:cubicBezTo>
                      <a:pt x="10" y="185"/>
                      <a:pt x="0" y="195"/>
                      <a:pt x="0" y="207"/>
                    </a:cubicBezTo>
                    <a:cubicBezTo>
                      <a:pt x="0" y="219"/>
                      <a:pt x="10" y="229"/>
                      <a:pt x="22" y="229"/>
                    </a:cubicBezTo>
                    <a:cubicBezTo>
                      <a:pt x="219" y="229"/>
                      <a:pt x="219" y="229"/>
                      <a:pt x="219" y="229"/>
                    </a:cubicBezTo>
                    <a:cubicBezTo>
                      <a:pt x="231" y="229"/>
                      <a:pt x="241" y="219"/>
                      <a:pt x="241" y="207"/>
                    </a:cubicBezTo>
                    <a:close/>
                    <a:moveTo>
                      <a:pt x="1028" y="529"/>
                    </a:moveTo>
                    <a:cubicBezTo>
                      <a:pt x="1028" y="388"/>
                      <a:pt x="1028" y="388"/>
                      <a:pt x="1028" y="388"/>
                    </a:cubicBezTo>
                    <a:cubicBezTo>
                      <a:pt x="1028" y="382"/>
                      <a:pt x="1023" y="378"/>
                      <a:pt x="1018" y="378"/>
                    </a:cubicBezTo>
                    <a:cubicBezTo>
                      <a:pt x="554" y="378"/>
                      <a:pt x="554" y="378"/>
                      <a:pt x="554" y="378"/>
                    </a:cubicBezTo>
                    <a:cubicBezTo>
                      <a:pt x="549" y="378"/>
                      <a:pt x="544" y="382"/>
                      <a:pt x="544" y="388"/>
                    </a:cubicBezTo>
                    <a:cubicBezTo>
                      <a:pt x="544" y="529"/>
                      <a:pt x="544" y="529"/>
                      <a:pt x="544" y="529"/>
                    </a:cubicBezTo>
                    <a:cubicBezTo>
                      <a:pt x="544" y="535"/>
                      <a:pt x="549" y="539"/>
                      <a:pt x="554" y="539"/>
                    </a:cubicBezTo>
                    <a:cubicBezTo>
                      <a:pt x="1018" y="539"/>
                      <a:pt x="1018" y="539"/>
                      <a:pt x="1018" y="539"/>
                    </a:cubicBezTo>
                    <a:cubicBezTo>
                      <a:pt x="1023" y="539"/>
                      <a:pt x="1028" y="535"/>
                      <a:pt x="1028" y="529"/>
                    </a:cubicBezTo>
                    <a:close/>
                    <a:moveTo>
                      <a:pt x="1016" y="136"/>
                    </a:moveTo>
                    <a:cubicBezTo>
                      <a:pt x="1016" y="10"/>
                      <a:pt x="1016" y="10"/>
                      <a:pt x="1016" y="10"/>
                    </a:cubicBezTo>
                    <a:cubicBezTo>
                      <a:pt x="1016" y="4"/>
                      <a:pt x="1012" y="0"/>
                      <a:pt x="1006" y="0"/>
                    </a:cubicBezTo>
                    <a:cubicBezTo>
                      <a:pt x="566" y="0"/>
                      <a:pt x="566" y="0"/>
                      <a:pt x="566" y="0"/>
                    </a:cubicBezTo>
                    <a:cubicBezTo>
                      <a:pt x="560" y="0"/>
                      <a:pt x="556" y="4"/>
                      <a:pt x="556" y="10"/>
                    </a:cubicBezTo>
                    <a:cubicBezTo>
                      <a:pt x="556" y="136"/>
                      <a:pt x="556" y="136"/>
                      <a:pt x="556" y="136"/>
                    </a:cubicBezTo>
                    <a:cubicBezTo>
                      <a:pt x="556" y="142"/>
                      <a:pt x="560" y="146"/>
                      <a:pt x="566" y="146"/>
                    </a:cubicBezTo>
                    <a:cubicBezTo>
                      <a:pt x="1006" y="146"/>
                      <a:pt x="1006" y="146"/>
                      <a:pt x="1006" y="146"/>
                    </a:cubicBezTo>
                    <a:cubicBezTo>
                      <a:pt x="1012" y="146"/>
                      <a:pt x="1016" y="142"/>
                      <a:pt x="1016" y="136"/>
                    </a:cubicBezTo>
                    <a:close/>
                    <a:moveTo>
                      <a:pt x="676" y="638"/>
                    </a:moveTo>
                    <a:cubicBezTo>
                      <a:pt x="676" y="617"/>
                      <a:pt x="676" y="617"/>
                      <a:pt x="676" y="617"/>
                    </a:cubicBezTo>
                    <a:cubicBezTo>
                      <a:pt x="676" y="605"/>
                      <a:pt x="666" y="595"/>
                      <a:pt x="654" y="595"/>
                    </a:cubicBezTo>
                    <a:cubicBezTo>
                      <a:pt x="594" y="595"/>
                      <a:pt x="594" y="595"/>
                      <a:pt x="594" y="595"/>
                    </a:cubicBezTo>
                    <a:cubicBezTo>
                      <a:pt x="582" y="595"/>
                      <a:pt x="572" y="605"/>
                      <a:pt x="572" y="617"/>
                    </a:cubicBezTo>
                    <a:cubicBezTo>
                      <a:pt x="572" y="638"/>
                      <a:pt x="572" y="638"/>
                      <a:pt x="572" y="638"/>
                    </a:cubicBezTo>
                    <a:cubicBezTo>
                      <a:pt x="572" y="650"/>
                      <a:pt x="582" y="660"/>
                      <a:pt x="594" y="660"/>
                    </a:cubicBezTo>
                    <a:cubicBezTo>
                      <a:pt x="654" y="660"/>
                      <a:pt x="654" y="660"/>
                      <a:pt x="654" y="660"/>
                    </a:cubicBezTo>
                    <a:cubicBezTo>
                      <a:pt x="666" y="660"/>
                      <a:pt x="676" y="650"/>
                      <a:pt x="676" y="638"/>
                    </a:cubicBezTo>
                    <a:close/>
                    <a:moveTo>
                      <a:pt x="843" y="638"/>
                    </a:moveTo>
                    <a:cubicBezTo>
                      <a:pt x="843" y="617"/>
                      <a:pt x="843" y="617"/>
                      <a:pt x="843" y="617"/>
                    </a:cubicBezTo>
                    <a:cubicBezTo>
                      <a:pt x="843" y="605"/>
                      <a:pt x="833" y="595"/>
                      <a:pt x="821" y="595"/>
                    </a:cubicBezTo>
                    <a:cubicBezTo>
                      <a:pt x="760" y="595"/>
                      <a:pt x="760" y="595"/>
                      <a:pt x="760" y="595"/>
                    </a:cubicBezTo>
                    <a:cubicBezTo>
                      <a:pt x="748" y="595"/>
                      <a:pt x="738" y="605"/>
                      <a:pt x="738" y="617"/>
                    </a:cubicBezTo>
                    <a:cubicBezTo>
                      <a:pt x="738" y="638"/>
                      <a:pt x="738" y="638"/>
                      <a:pt x="738" y="638"/>
                    </a:cubicBezTo>
                    <a:cubicBezTo>
                      <a:pt x="738" y="650"/>
                      <a:pt x="748" y="660"/>
                      <a:pt x="760" y="660"/>
                    </a:cubicBezTo>
                    <a:cubicBezTo>
                      <a:pt x="821" y="660"/>
                      <a:pt x="821" y="660"/>
                      <a:pt x="821" y="660"/>
                    </a:cubicBezTo>
                    <a:cubicBezTo>
                      <a:pt x="833" y="660"/>
                      <a:pt x="843" y="650"/>
                      <a:pt x="843" y="638"/>
                    </a:cubicBezTo>
                    <a:close/>
                    <a:moveTo>
                      <a:pt x="676" y="752"/>
                    </a:moveTo>
                    <a:cubicBezTo>
                      <a:pt x="676" y="731"/>
                      <a:pt x="676" y="731"/>
                      <a:pt x="676" y="731"/>
                    </a:cubicBezTo>
                    <a:cubicBezTo>
                      <a:pt x="676" y="719"/>
                      <a:pt x="666" y="709"/>
                      <a:pt x="654" y="709"/>
                    </a:cubicBezTo>
                    <a:cubicBezTo>
                      <a:pt x="594" y="709"/>
                      <a:pt x="594" y="709"/>
                      <a:pt x="594" y="709"/>
                    </a:cubicBezTo>
                    <a:cubicBezTo>
                      <a:pt x="582" y="709"/>
                      <a:pt x="572" y="719"/>
                      <a:pt x="572" y="731"/>
                    </a:cubicBezTo>
                    <a:cubicBezTo>
                      <a:pt x="572" y="752"/>
                      <a:pt x="572" y="752"/>
                      <a:pt x="572" y="752"/>
                    </a:cubicBezTo>
                    <a:cubicBezTo>
                      <a:pt x="572" y="764"/>
                      <a:pt x="582" y="774"/>
                      <a:pt x="594" y="774"/>
                    </a:cubicBezTo>
                    <a:cubicBezTo>
                      <a:pt x="654" y="774"/>
                      <a:pt x="654" y="774"/>
                      <a:pt x="654" y="774"/>
                    </a:cubicBezTo>
                    <a:cubicBezTo>
                      <a:pt x="666" y="774"/>
                      <a:pt x="676" y="764"/>
                      <a:pt x="676" y="752"/>
                    </a:cubicBezTo>
                    <a:close/>
                    <a:moveTo>
                      <a:pt x="843" y="752"/>
                    </a:moveTo>
                    <a:cubicBezTo>
                      <a:pt x="843" y="731"/>
                      <a:pt x="843" y="731"/>
                      <a:pt x="843" y="731"/>
                    </a:cubicBezTo>
                    <a:cubicBezTo>
                      <a:pt x="843" y="719"/>
                      <a:pt x="833" y="709"/>
                      <a:pt x="821" y="709"/>
                    </a:cubicBezTo>
                    <a:cubicBezTo>
                      <a:pt x="760" y="709"/>
                      <a:pt x="760" y="709"/>
                      <a:pt x="760" y="709"/>
                    </a:cubicBezTo>
                    <a:cubicBezTo>
                      <a:pt x="748" y="709"/>
                      <a:pt x="738" y="719"/>
                      <a:pt x="738" y="731"/>
                    </a:cubicBezTo>
                    <a:cubicBezTo>
                      <a:pt x="738" y="752"/>
                      <a:pt x="738" y="752"/>
                      <a:pt x="738" y="752"/>
                    </a:cubicBezTo>
                    <a:cubicBezTo>
                      <a:pt x="738" y="764"/>
                      <a:pt x="748" y="774"/>
                      <a:pt x="760" y="774"/>
                    </a:cubicBezTo>
                    <a:cubicBezTo>
                      <a:pt x="821" y="774"/>
                      <a:pt x="821" y="774"/>
                      <a:pt x="821" y="774"/>
                    </a:cubicBezTo>
                    <a:cubicBezTo>
                      <a:pt x="833" y="774"/>
                      <a:pt x="843" y="764"/>
                      <a:pt x="843" y="752"/>
                    </a:cubicBezTo>
                    <a:close/>
                    <a:moveTo>
                      <a:pt x="676" y="866"/>
                    </a:moveTo>
                    <a:cubicBezTo>
                      <a:pt x="676" y="845"/>
                      <a:pt x="676" y="845"/>
                      <a:pt x="676" y="845"/>
                    </a:cubicBezTo>
                    <a:cubicBezTo>
                      <a:pt x="676" y="833"/>
                      <a:pt x="666" y="823"/>
                      <a:pt x="654" y="823"/>
                    </a:cubicBezTo>
                    <a:cubicBezTo>
                      <a:pt x="594" y="823"/>
                      <a:pt x="594" y="823"/>
                      <a:pt x="594" y="823"/>
                    </a:cubicBezTo>
                    <a:cubicBezTo>
                      <a:pt x="582" y="823"/>
                      <a:pt x="572" y="833"/>
                      <a:pt x="572" y="845"/>
                    </a:cubicBezTo>
                    <a:cubicBezTo>
                      <a:pt x="572" y="866"/>
                      <a:pt x="572" y="866"/>
                      <a:pt x="572" y="866"/>
                    </a:cubicBezTo>
                    <a:cubicBezTo>
                      <a:pt x="572" y="878"/>
                      <a:pt x="582" y="888"/>
                      <a:pt x="594" y="888"/>
                    </a:cubicBezTo>
                    <a:cubicBezTo>
                      <a:pt x="654" y="888"/>
                      <a:pt x="654" y="888"/>
                      <a:pt x="654" y="888"/>
                    </a:cubicBezTo>
                    <a:cubicBezTo>
                      <a:pt x="666" y="888"/>
                      <a:pt x="676" y="878"/>
                      <a:pt x="676" y="866"/>
                    </a:cubicBezTo>
                    <a:close/>
                    <a:moveTo>
                      <a:pt x="843" y="866"/>
                    </a:moveTo>
                    <a:cubicBezTo>
                      <a:pt x="843" y="845"/>
                      <a:pt x="843" y="845"/>
                      <a:pt x="843" y="845"/>
                    </a:cubicBezTo>
                    <a:cubicBezTo>
                      <a:pt x="843" y="833"/>
                      <a:pt x="833" y="823"/>
                      <a:pt x="821" y="823"/>
                    </a:cubicBezTo>
                    <a:cubicBezTo>
                      <a:pt x="760" y="823"/>
                      <a:pt x="760" y="823"/>
                      <a:pt x="760" y="823"/>
                    </a:cubicBezTo>
                    <a:cubicBezTo>
                      <a:pt x="748" y="823"/>
                      <a:pt x="738" y="833"/>
                      <a:pt x="738" y="845"/>
                    </a:cubicBezTo>
                    <a:cubicBezTo>
                      <a:pt x="738" y="866"/>
                      <a:pt x="738" y="866"/>
                      <a:pt x="738" y="866"/>
                    </a:cubicBezTo>
                    <a:cubicBezTo>
                      <a:pt x="738" y="878"/>
                      <a:pt x="748" y="888"/>
                      <a:pt x="760" y="888"/>
                    </a:cubicBezTo>
                    <a:cubicBezTo>
                      <a:pt x="821" y="888"/>
                      <a:pt x="821" y="888"/>
                      <a:pt x="821" y="888"/>
                    </a:cubicBezTo>
                    <a:cubicBezTo>
                      <a:pt x="833" y="888"/>
                      <a:pt x="843" y="878"/>
                      <a:pt x="843" y="866"/>
                    </a:cubicBezTo>
                    <a:close/>
                  </a:path>
                </a:pathLst>
              </a:custGeom>
              <a:solidFill>
                <a:srgbClr val="98A6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833" name="Freeform 26"/>
              <p:cNvSpPr>
                <a:spLocks noEditPoints="1"/>
              </p:cNvSpPr>
              <p:nvPr/>
            </p:nvSpPr>
            <p:spPr bwMode="auto">
              <a:xfrm>
                <a:off x="2148" y="711"/>
                <a:ext cx="3380" cy="2885"/>
              </a:xfrm>
              <a:custGeom>
                <a:avLst/>
                <a:gdLst>
                  <a:gd name="T0" fmla="*/ 43 w 1804"/>
                  <a:gd name="T1" fmla="*/ 2208 h 1539"/>
                  <a:gd name="T2" fmla="*/ 2 w 1804"/>
                  <a:gd name="T3" fmla="*/ 2844 h 1539"/>
                  <a:gd name="T4" fmla="*/ 3337 w 1804"/>
                  <a:gd name="T5" fmla="*/ 2885 h 1539"/>
                  <a:gd name="T6" fmla="*/ 3378 w 1804"/>
                  <a:gd name="T7" fmla="*/ 2250 h 1539"/>
                  <a:gd name="T8" fmla="*/ 1690 w 1804"/>
                  <a:gd name="T9" fmla="*/ 2649 h 1539"/>
                  <a:gd name="T10" fmla="*/ 1690 w 1804"/>
                  <a:gd name="T11" fmla="*/ 2443 h 1539"/>
                  <a:gd name="T12" fmla="*/ 1690 w 1804"/>
                  <a:gd name="T13" fmla="*/ 2649 h 1539"/>
                  <a:gd name="T14" fmla="*/ 3155 w 1804"/>
                  <a:gd name="T15" fmla="*/ 1134 h 1539"/>
                  <a:gd name="T16" fmla="*/ 3114 w 1804"/>
                  <a:gd name="T17" fmla="*/ 598 h 1539"/>
                  <a:gd name="T18" fmla="*/ 2539 w 1804"/>
                  <a:gd name="T19" fmla="*/ 540 h 1539"/>
                  <a:gd name="T20" fmla="*/ 2898 w 1804"/>
                  <a:gd name="T21" fmla="*/ 499 h 1539"/>
                  <a:gd name="T22" fmla="*/ 2857 w 1804"/>
                  <a:gd name="T23" fmla="*/ 0 h 1539"/>
                  <a:gd name="T24" fmla="*/ 1767 w 1804"/>
                  <a:gd name="T25" fmla="*/ 41 h 1539"/>
                  <a:gd name="T26" fmla="*/ 1808 w 1804"/>
                  <a:gd name="T27" fmla="*/ 540 h 1539"/>
                  <a:gd name="T28" fmla="*/ 2127 w 1804"/>
                  <a:gd name="T29" fmla="*/ 598 h 1539"/>
                  <a:gd name="T30" fmla="*/ 1551 w 1804"/>
                  <a:gd name="T31" fmla="*/ 680 h 1539"/>
                  <a:gd name="T32" fmla="*/ 3073 w 1804"/>
                  <a:gd name="T33" fmla="*/ 1140 h 1539"/>
                  <a:gd name="T34" fmla="*/ 3298 w 1804"/>
                  <a:gd name="T35" fmla="*/ 1835 h 1539"/>
                  <a:gd name="T36" fmla="*/ 82 w 1804"/>
                  <a:gd name="T37" fmla="*/ 2068 h 1539"/>
                  <a:gd name="T38" fmla="*/ 305 w 1804"/>
                  <a:gd name="T39" fmla="*/ 1153 h 1539"/>
                  <a:gd name="T40" fmla="*/ 307 w 1804"/>
                  <a:gd name="T41" fmla="*/ 680 h 1539"/>
                  <a:gd name="T42" fmla="*/ 620 w 1804"/>
                  <a:gd name="T43" fmla="*/ 598 h 1539"/>
                  <a:gd name="T44" fmla="*/ 225 w 1804"/>
                  <a:gd name="T45" fmla="*/ 639 h 1539"/>
                  <a:gd name="T46" fmla="*/ 2 w 1804"/>
                  <a:gd name="T47" fmla="*/ 1816 h 1539"/>
                  <a:gd name="T48" fmla="*/ 0 w 1804"/>
                  <a:gd name="T49" fmla="*/ 2109 h 1539"/>
                  <a:gd name="T50" fmla="*/ 3339 w 1804"/>
                  <a:gd name="T51" fmla="*/ 2150 h 1539"/>
                  <a:gd name="T52" fmla="*/ 3380 w 1804"/>
                  <a:gd name="T53" fmla="*/ 1830 h 1539"/>
                  <a:gd name="T54" fmla="*/ 1849 w 1804"/>
                  <a:gd name="T55" fmla="*/ 82 h 1539"/>
                  <a:gd name="T56" fmla="*/ 2816 w 1804"/>
                  <a:gd name="T57" fmla="*/ 457 h 1539"/>
                  <a:gd name="T58" fmla="*/ 1849 w 1804"/>
                  <a:gd name="T59" fmla="*/ 82 h 1539"/>
                  <a:gd name="T60" fmla="*/ 1551 w 1804"/>
                  <a:gd name="T61" fmla="*/ 1217 h 1539"/>
                  <a:gd name="T62" fmla="*/ 1536 w 1804"/>
                  <a:gd name="T63" fmla="*/ 1273 h 1539"/>
                  <a:gd name="T64" fmla="*/ 1469 w 1804"/>
                  <a:gd name="T65" fmla="*/ 270 h 1539"/>
                  <a:gd name="T66" fmla="*/ 744 w 1804"/>
                  <a:gd name="T67" fmla="*/ 229 h 1539"/>
                  <a:gd name="T68" fmla="*/ 703 w 1804"/>
                  <a:gd name="T69" fmla="*/ 1273 h 1539"/>
                  <a:gd name="T70" fmla="*/ 605 w 1804"/>
                  <a:gd name="T71" fmla="*/ 1243 h 1539"/>
                  <a:gd name="T72" fmla="*/ 620 w 1804"/>
                  <a:gd name="T73" fmla="*/ 1132 h 1539"/>
                  <a:gd name="T74" fmla="*/ 635 w 1804"/>
                  <a:gd name="T75" fmla="*/ 1355 h 1539"/>
                  <a:gd name="T76" fmla="*/ 1428 w 1804"/>
                  <a:gd name="T77" fmla="*/ 1355 h 1539"/>
                  <a:gd name="T78" fmla="*/ 1649 w 1804"/>
                  <a:gd name="T79" fmla="*/ 1243 h 1539"/>
                  <a:gd name="T80" fmla="*/ 1386 w 1804"/>
                  <a:gd name="T81" fmla="*/ 1273 h 1539"/>
                  <a:gd name="T82" fmla="*/ 785 w 1804"/>
                  <a:gd name="T83" fmla="*/ 311 h 1539"/>
                  <a:gd name="T84" fmla="*/ 1386 w 1804"/>
                  <a:gd name="T85" fmla="*/ 1273 h 153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804"/>
                  <a:gd name="T130" fmla="*/ 0 h 1539"/>
                  <a:gd name="T131" fmla="*/ 1804 w 1804"/>
                  <a:gd name="T132" fmla="*/ 1539 h 1539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804" h="1539">
                    <a:moveTo>
                      <a:pt x="1781" y="1178"/>
                    </a:moveTo>
                    <a:cubicBezTo>
                      <a:pt x="23" y="1178"/>
                      <a:pt x="23" y="1178"/>
                      <a:pt x="23" y="1178"/>
                    </a:cubicBezTo>
                    <a:cubicBezTo>
                      <a:pt x="11" y="1178"/>
                      <a:pt x="1" y="1188"/>
                      <a:pt x="1" y="1200"/>
                    </a:cubicBezTo>
                    <a:cubicBezTo>
                      <a:pt x="1" y="1517"/>
                      <a:pt x="1" y="1517"/>
                      <a:pt x="1" y="1517"/>
                    </a:cubicBezTo>
                    <a:cubicBezTo>
                      <a:pt x="1" y="1529"/>
                      <a:pt x="11" y="1539"/>
                      <a:pt x="23" y="1539"/>
                    </a:cubicBezTo>
                    <a:cubicBezTo>
                      <a:pt x="1781" y="1539"/>
                      <a:pt x="1781" y="1539"/>
                      <a:pt x="1781" y="1539"/>
                    </a:cubicBezTo>
                    <a:cubicBezTo>
                      <a:pt x="1793" y="1539"/>
                      <a:pt x="1803" y="1529"/>
                      <a:pt x="1803" y="1517"/>
                    </a:cubicBezTo>
                    <a:cubicBezTo>
                      <a:pt x="1803" y="1200"/>
                      <a:pt x="1803" y="1200"/>
                      <a:pt x="1803" y="1200"/>
                    </a:cubicBezTo>
                    <a:cubicBezTo>
                      <a:pt x="1803" y="1188"/>
                      <a:pt x="1793" y="1178"/>
                      <a:pt x="1781" y="1178"/>
                    </a:cubicBezTo>
                    <a:close/>
                    <a:moveTo>
                      <a:pt x="902" y="1413"/>
                    </a:moveTo>
                    <a:cubicBezTo>
                      <a:pt x="872" y="1413"/>
                      <a:pt x="847" y="1389"/>
                      <a:pt x="847" y="1358"/>
                    </a:cubicBezTo>
                    <a:cubicBezTo>
                      <a:pt x="847" y="1328"/>
                      <a:pt x="872" y="1303"/>
                      <a:pt x="902" y="1303"/>
                    </a:cubicBezTo>
                    <a:cubicBezTo>
                      <a:pt x="932" y="1303"/>
                      <a:pt x="957" y="1328"/>
                      <a:pt x="957" y="1358"/>
                    </a:cubicBezTo>
                    <a:cubicBezTo>
                      <a:pt x="957" y="1389"/>
                      <a:pt x="932" y="1413"/>
                      <a:pt x="902" y="1413"/>
                    </a:cubicBezTo>
                    <a:close/>
                    <a:moveTo>
                      <a:pt x="1803" y="969"/>
                    </a:moveTo>
                    <a:cubicBezTo>
                      <a:pt x="1684" y="605"/>
                      <a:pt x="1684" y="605"/>
                      <a:pt x="1684" y="605"/>
                    </a:cubicBezTo>
                    <a:cubicBezTo>
                      <a:pt x="1684" y="341"/>
                      <a:pt x="1684" y="341"/>
                      <a:pt x="1684" y="341"/>
                    </a:cubicBezTo>
                    <a:cubicBezTo>
                      <a:pt x="1684" y="329"/>
                      <a:pt x="1674" y="319"/>
                      <a:pt x="1662" y="319"/>
                    </a:cubicBezTo>
                    <a:cubicBezTo>
                      <a:pt x="1355" y="319"/>
                      <a:pt x="1355" y="319"/>
                      <a:pt x="1355" y="319"/>
                    </a:cubicBezTo>
                    <a:cubicBezTo>
                      <a:pt x="1355" y="288"/>
                      <a:pt x="1355" y="288"/>
                      <a:pt x="1355" y="288"/>
                    </a:cubicBezTo>
                    <a:cubicBezTo>
                      <a:pt x="1525" y="288"/>
                      <a:pt x="1525" y="288"/>
                      <a:pt x="1525" y="288"/>
                    </a:cubicBezTo>
                    <a:cubicBezTo>
                      <a:pt x="1537" y="288"/>
                      <a:pt x="1547" y="278"/>
                      <a:pt x="1547" y="266"/>
                    </a:cubicBezTo>
                    <a:cubicBezTo>
                      <a:pt x="1547" y="22"/>
                      <a:pt x="1547" y="22"/>
                      <a:pt x="1547" y="22"/>
                    </a:cubicBezTo>
                    <a:cubicBezTo>
                      <a:pt x="1547" y="10"/>
                      <a:pt x="1537" y="0"/>
                      <a:pt x="1525" y="0"/>
                    </a:cubicBezTo>
                    <a:cubicBezTo>
                      <a:pt x="965" y="0"/>
                      <a:pt x="965" y="0"/>
                      <a:pt x="965" y="0"/>
                    </a:cubicBezTo>
                    <a:cubicBezTo>
                      <a:pt x="953" y="0"/>
                      <a:pt x="943" y="10"/>
                      <a:pt x="943" y="22"/>
                    </a:cubicBezTo>
                    <a:cubicBezTo>
                      <a:pt x="943" y="266"/>
                      <a:pt x="943" y="266"/>
                      <a:pt x="943" y="266"/>
                    </a:cubicBezTo>
                    <a:cubicBezTo>
                      <a:pt x="943" y="278"/>
                      <a:pt x="953" y="288"/>
                      <a:pt x="965" y="288"/>
                    </a:cubicBezTo>
                    <a:cubicBezTo>
                      <a:pt x="1135" y="288"/>
                      <a:pt x="1135" y="288"/>
                      <a:pt x="1135" y="288"/>
                    </a:cubicBezTo>
                    <a:cubicBezTo>
                      <a:pt x="1135" y="319"/>
                      <a:pt x="1135" y="319"/>
                      <a:pt x="1135" y="319"/>
                    </a:cubicBezTo>
                    <a:cubicBezTo>
                      <a:pt x="828" y="319"/>
                      <a:pt x="828" y="319"/>
                      <a:pt x="828" y="319"/>
                    </a:cubicBezTo>
                    <a:cubicBezTo>
                      <a:pt x="828" y="363"/>
                      <a:pt x="828" y="363"/>
                      <a:pt x="828" y="363"/>
                    </a:cubicBezTo>
                    <a:cubicBezTo>
                      <a:pt x="1640" y="363"/>
                      <a:pt x="1640" y="363"/>
                      <a:pt x="1640" y="363"/>
                    </a:cubicBezTo>
                    <a:cubicBezTo>
                      <a:pt x="1640" y="608"/>
                      <a:pt x="1640" y="608"/>
                      <a:pt x="1640" y="608"/>
                    </a:cubicBezTo>
                    <a:cubicBezTo>
                      <a:pt x="1640" y="610"/>
                      <a:pt x="1640" y="613"/>
                      <a:pt x="1641" y="615"/>
                    </a:cubicBezTo>
                    <a:cubicBezTo>
                      <a:pt x="1760" y="979"/>
                      <a:pt x="1760" y="979"/>
                      <a:pt x="1760" y="979"/>
                    </a:cubicBezTo>
                    <a:cubicBezTo>
                      <a:pt x="1760" y="1103"/>
                      <a:pt x="1760" y="1103"/>
                      <a:pt x="1760" y="1103"/>
                    </a:cubicBezTo>
                    <a:cubicBezTo>
                      <a:pt x="44" y="1103"/>
                      <a:pt x="44" y="1103"/>
                      <a:pt x="44" y="1103"/>
                    </a:cubicBezTo>
                    <a:cubicBezTo>
                      <a:pt x="44" y="979"/>
                      <a:pt x="44" y="979"/>
                      <a:pt x="44" y="979"/>
                    </a:cubicBezTo>
                    <a:cubicBezTo>
                      <a:pt x="163" y="615"/>
                      <a:pt x="163" y="615"/>
                      <a:pt x="163" y="615"/>
                    </a:cubicBezTo>
                    <a:cubicBezTo>
                      <a:pt x="164" y="613"/>
                      <a:pt x="164" y="610"/>
                      <a:pt x="164" y="608"/>
                    </a:cubicBezTo>
                    <a:cubicBezTo>
                      <a:pt x="164" y="363"/>
                      <a:pt x="164" y="363"/>
                      <a:pt x="164" y="363"/>
                    </a:cubicBezTo>
                    <a:cubicBezTo>
                      <a:pt x="331" y="363"/>
                      <a:pt x="331" y="363"/>
                      <a:pt x="331" y="363"/>
                    </a:cubicBezTo>
                    <a:cubicBezTo>
                      <a:pt x="331" y="319"/>
                      <a:pt x="331" y="319"/>
                      <a:pt x="331" y="319"/>
                    </a:cubicBezTo>
                    <a:cubicBezTo>
                      <a:pt x="142" y="319"/>
                      <a:pt x="142" y="319"/>
                      <a:pt x="142" y="319"/>
                    </a:cubicBezTo>
                    <a:cubicBezTo>
                      <a:pt x="130" y="319"/>
                      <a:pt x="120" y="329"/>
                      <a:pt x="120" y="341"/>
                    </a:cubicBezTo>
                    <a:cubicBezTo>
                      <a:pt x="120" y="605"/>
                      <a:pt x="120" y="605"/>
                      <a:pt x="120" y="605"/>
                    </a:cubicBezTo>
                    <a:cubicBezTo>
                      <a:pt x="1" y="969"/>
                      <a:pt x="1" y="969"/>
                      <a:pt x="1" y="969"/>
                    </a:cubicBezTo>
                    <a:cubicBezTo>
                      <a:pt x="0" y="971"/>
                      <a:pt x="0" y="974"/>
                      <a:pt x="0" y="976"/>
                    </a:cubicBezTo>
                    <a:cubicBezTo>
                      <a:pt x="0" y="1125"/>
                      <a:pt x="0" y="1125"/>
                      <a:pt x="0" y="1125"/>
                    </a:cubicBezTo>
                    <a:cubicBezTo>
                      <a:pt x="0" y="1137"/>
                      <a:pt x="10" y="1147"/>
                      <a:pt x="22" y="1147"/>
                    </a:cubicBezTo>
                    <a:cubicBezTo>
                      <a:pt x="1782" y="1147"/>
                      <a:pt x="1782" y="1147"/>
                      <a:pt x="1782" y="1147"/>
                    </a:cubicBezTo>
                    <a:cubicBezTo>
                      <a:pt x="1794" y="1147"/>
                      <a:pt x="1804" y="1137"/>
                      <a:pt x="1804" y="1125"/>
                    </a:cubicBezTo>
                    <a:cubicBezTo>
                      <a:pt x="1804" y="976"/>
                      <a:pt x="1804" y="976"/>
                      <a:pt x="1804" y="976"/>
                    </a:cubicBezTo>
                    <a:cubicBezTo>
                      <a:pt x="1804" y="974"/>
                      <a:pt x="1804" y="971"/>
                      <a:pt x="1803" y="969"/>
                    </a:cubicBezTo>
                    <a:close/>
                    <a:moveTo>
                      <a:pt x="987" y="44"/>
                    </a:moveTo>
                    <a:cubicBezTo>
                      <a:pt x="1503" y="44"/>
                      <a:pt x="1503" y="44"/>
                      <a:pt x="1503" y="44"/>
                    </a:cubicBezTo>
                    <a:cubicBezTo>
                      <a:pt x="1503" y="244"/>
                      <a:pt x="1503" y="244"/>
                      <a:pt x="1503" y="244"/>
                    </a:cubicBezTo>
                    <a:cubicBezTo>
                      <a:pt x="987" y="244"/>
                      <a:pt x="987" y="244"/>
                      <a:pt x="987" y="244"/>
                    </a:cubicBezTo>
                    <a:lnTo>
                      <a:pt x="987" y="44"/>
                    </a:lnTo>
                    <a:close/>
                    <a:moveTo>
                      <a:pt x="828" y="604"/>
                    </a:moveTo>
                    <a:cubicBezTo>
                      <a:pt x="828" y="649"/>
                      <a:pt x="828" y="649"/>
                      <a:pt x="828" y="649"/>
                    </a:cubicBezTo>
                    <a:cubicBezTo>
                      <a:pt x="833" y="652"/>
                      <a:pt x="836" y="657"/>
                      <a:pt x="836" y="663"/>
                    </a:cubicBezTo>
                    <a:cubicBezTo>
                      <a:pt x="836" y="672"/>
                      <a:pt x="829" y="679"/>
                      <a:pt x="820" y="679"/>
                    </a:cubicBezTo>
                    <a:cubicBezTo>
                      <a:pt x="784" y="679"/>
                      <a:pt x="784" y="679"/>
                      <a:pt x="784" y="679"/>
                    </a:cubicBezTo>
                    <a:cubicBezTo>
                      <a:pt x="784" y="144"/>
                      <a:pt x="784" y="144"/>
                      <a:pt x="784" y="144"/>
                    </a:cubicBezTo>
                    <a:cubicBezTo>
                      <a:pt x="784" y="132"/>
                      <a:pt x="774" y="122"/>
                      <a:pt x="762" y="122"/>
                    </a:cubicBezTo>
                    <a:cubicBezTo>
                      <a:pt x="397" y="122"/>
                      <a:pt x="397" y="122"/>
                      <a:pt x="397" y="122"/>
                    </a:cubicBezTo>
                    <a:cubicBezTo>
                      <a:pt x="385" y="122"/>
                      <a:pt x="375" y="132"/>
                      <a:pt x="375" y="144"/>
                    </a:cubicBezTo>
                    <a:cubicBezTo>
                      <a:pt x="375" y="679"/>
                      <a:pt x="375" y="679"/>
                      <a:pt x="375" y="679"/>
                    </a:cubicBezTo>
                    <a:cubicBezTo>
                      <a:pt x="339" y="679"/>
                      <a:pt x="339" y="679"/>
                      <a:pt x="339" y="679"/>
                    </a:cubicBezTo>
                    <a:cubicBezTo>
                      <a:pt x="330" y="679"/>
                      <a:pt x="323" y="672"/>
                      <a:pt x="323" y="663"/>
                    </a:cubicBezTo>
                    <a:cubicBezTo>
                      <a:pt x="323" y="657"/>
                      <a:pt x="326" y="652"/>
                      <a:pt x="331" y="649"/>
                    </a:cubicBezTo>
                    <a:cubicBezTo>
                      <a:pt x="331" y="604"/>
                      <a:pt x="331" y="604"/>
                      <a:pt x="331" y="604"/>
                    </a:cubicBezTo>
                    <a:cubicBezTo>
                      <a:pt x="301" y="608"/>
                      <a:pt x="279" y="633"/>
                      <a:pt x="279" y="663"/>
                    </a:cubicBezTo>
                    <a:cubicBezTo>
                      <a:pt x="279" y="696"/>
                      <a:pt x="306" y="723"/>
                      <a:pt x="339" y="723"/>
                    </a:cubicBezTo>
                    <a:cubicBezTo>
                      <a:pt x="397" y="723"/>
                      <a:pt x="397" y="723"/>
                      <a:pt x="397" y="723"/>
                    </a:cubicBezTo>
                    <a:cubicBezTo>
                      <a:pt x="762" y="723"/>
                      <a:pt x="762" y="723"/>
                      <a:pt x="762" y="723"/>
                    </a:cubicBezTo>
                    <a:cubicBezTo>
                      <a:pt x="820" y="723"/>
                      <a:pt x="820" y="723"/>
                      <a:pt x="820" y="723"/>
                    </a:cubicBezTo>
                    <a:cubicBezTo>
                      <a:pt x="853" y="723"/>
                      <a:pt x="880" y="696"/>
                      <a:pt x="880" y="663"/>
                    </a:cubicBezTo>
                    <a:cubicBezTo>
                      <a:pt x="880" y="633"/>
                      <a:pt x="857" y="608"/>
                      <a:pt x="828" y="604"/>
                    </a:cubicBezTo>
                    <a:close/>
                    <a:moveTo>
                      <a:pt x="740" y="679"/>
                    </a:moveTo>
                    <a:cubicBezTo>
                      <a:pt x="419" y="679"/>
                      <a:pt x="419" y="679"/>
                      <a:pt x="419" y="679"/>
                    </a:cubicBezTo>
                    <a:cubicBezTo>
                      <a:pt x="419" y="166"/>
                      <a:pt x="419" y="166"/>
                      <a:pt x="419" y="166"/>
                    </a:cubicBezTo>
                    <a:cubicBezTo>
                      <a:pt x="740" y="166"/>
                      <a:pt x="740" y="166"/>
                      <a:pt x="740" y="166"/>
                    </a:cubicBezTo>
                    <a:lnTo>
                      <a:pt x="740" y="679"/>
                    </a:ln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72719" name="Group 149"/>
          <p:cNvGrpSpPr>
            <a:grpSpLocks/>
          </p:cNvGrpSpPr>
          <p:nvPr/>
        </p:nvGrpSpPr>
        <p:grpSpPr bwMode="auto">
          <a:xfrm>
            <a:off x="10039350" y="4368800"/>
            <a:ext cx="1127125" cy="1128713"/>
            <a:chOff x="9930769" y="4234235"/>
            <a:chExt cx="1127654" cy="1127656"/>
          </a:xfrm>
        </p:grpSpPr>
        <p:sp>
          <p:nvSpPr>
            <p:cNvPr id="11" name="Oval 10"/>
            <p:cNvSpPr/>
            <p:nvPr/>
          </p:nvSpPr>
          <p:spPr>
            <a:xfrm>
              <a:off x="9930769" y="4234235"/>
              <a:ext cx="1127654" cy="1127656"/>
            </a:xfrm>
            <a:prstGeom prst="ellipse">
              <a:avLst/>
            </a:prstGeom>
            <a:solidFill>
              <a:schemeClr val="bg1"/>
            </a:solidFill>
            <a:ln w="38100">
              <a:gradFill flip="none" rotWithShape="1">
                <a:gsLst>
                  <a:gs pos="0">
                    <a:schemeClr val="accent2"/>
                  </a:gs>
                  <a:gs pos="100000">
                    <a:schemeClr val="tx2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bg-BG" kern="0" dirty="0">
                <a:solidFill>
                  <a:schemeClr val="bg1">
                    <a:lumMod val="50000"/>
                  </a:schemeClr>
                </a:solidFill>
                <a:sym typeface="PT Sans Caption" panose="020B0603020203020204" pitchFamily="34" charset="0"/>
              </a:endParaRPr>
            </a:p>
          </p:txBody>
        </p:sp>
        <p:grpSp>
          <p:nvGrpSpPr>
            <p:cNvPr id="72822" name="Group 30"/>
            <p:cNvGrpSpPr>
              <a:grpSpLocks noChangeAspect="1"/>
            </p:cNvGrpSpPr>
            <p:nvPr/>
          </p:nvGrpSpPr>
          <p:grpSpPr bwMode="auto">
            <a:xfrm>
              <a:off x="10083116" y="4386583"/>
              <a:ext cx="822960" cy="822960"/>
              <a:chOff x="5273040" y="2606040"/>
              <a:chExt cx="1645920" cy="1645920"/>
            </a:xfrm>
          </p:grpSpPr>
          <p:sp>
            <p:nvSpPr>
              <p:cNvPr id="7282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273040" y="2606040"/>
                <a:ext cx="1645920" cy="16459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72824" name="Group 32"/>
              <p:cNvGrpSpPr>
                <a:grpSpLocks/>
              </p:cNvGrpSpPr>
              <p:nvPr/>
            </p:nvGrpSpPr>
            <p:grpSpPr bwMode="auto">
              <a:xfrm>
                <a:off x="5806821" y="2881122"/>
                <a:ext cx="578358" cy="1095756"/>
                <a:chOff x="5806821" y="2881122"/>
                <a:chExt cx="578358" cy="1095756"/>
              </a:xfrm>
            </p:grpSpPr>
            <p:sp>
              <p:nvSpPr>
                <p:cNvPr id="72825" name="Freeform 33"/>
                <p:cNvSpPr>
                  <a:spLocks/>
                </p:cNvSpPr>
                <p:nvPr/>
              </p:nvSpPr>
              <p:spPr bwMode="auto">
                <a:xfrm>
                  <a:off x="5806821" y="2881122"/>
                  <a:ext cx="578358" cy="1095756"/>
                </a:xfrm>
                <a:custGeom>
                  <a:avLst/>
                  <a:gdLst>
                    <a:gd name="T0" fmla="*/ 31242 w 2409825"/>
                    <a:gd name="T1" fmla="*/ 929259 h 4565650"/>
                    <a:gd name="T2" fmla="*/ 31242 w 2409825"/>
                    <a:gd name="T3" fmla="*/ 1063752 h 4565650"/>
                    <a:gd name="T4" fmla="*/ 547116 w 2409825"/>
                    <a:gd name="T5" fmla="*/ 1063752 h 4565650"/>
                    <a:gd name="T6" fmla="*/ 547116 w 2409825"/>
                    <a:gd name="T7" fmla="*/ 929259 h 4565650"/>
                    <a:gd name="T8" fmla="*/ 31242 w 2409825"/>
                    <a:gd name="T9" fmla="*/ 929259 h 4565650"/>
                    <a:gd name="T10" fmla="*/ 31242 w 2409825"/>
                    <a:gd name="T11" fmla="*/ 32004 h 4565650"/>
                    <a:gd name="T12" fmla="*/ 31242 w 2409825"/>
                    <a:gd name="T13" fmla="*/ 898017 h 4565650"/>
                    <a:gd name="T14" fmla="*/ 547116 w 2409825"/>
                    <a:gd name="T15" fmla="*/ 898017 h 4565650"/>
                    <a:gd name="T16" fmla="*/ 547116 w 2409825"/>
                    <a:gd name="T17" fmla="*/ 32004 h 4565650"/>
                    <a:gd name="T18" fmla="*/ 31242 w 2409825"/>
                    <a:gd name="T19" fmla="*/ 32004 h 4565650"/>
                    <a:gd name="T20" fmla="*/ 15708 w 2409825"/>
                    <a:gd name="T21" fmla="*/ 0 h 4565650"/>
                    <a:gd name="T22" fmla="*/ 562650 w 2409825"/>
                    <a:gd name="T23" fmla="*/ 0 h 4565650"/>
                    <a:gd name="T24" fmla="*/ 578358 w 2409825"/>
                    <a:gd name="T25" fmla="*/ 15715 h 4565650"/>
                    <a:gd name="T26" fmla="*/ 578358 w 2409825"/>
                    <a:gd name="T27" fmla="*/ 897892 h 4565650"/>
                    <a:gd name="T28" fmla="*/ 578358 w 2409825"/>
                    <a:gd name="T29" fmla="*/ 929321 h 4565650"/>
                    <a:gd name="T30" fmla="*/ 578358 w 2409825"/>
                    <a:gd name="T31" fmla="*/ 1080042 h 4565650"/>
                    <a:gd name="T32" fmla="*/ 562650 w 2409825"/>
                    <a:gd name="T33" fmla="*/ 1095756 h 4565650"/>
                    <a:gd name="T34" fmla="*/ 15708 w 2409825"/>
                    <a:gd name="T35" fmla="*/ 1095756 h 4565650"/>
                    <a:gd name="T36" fmla="*/ 0 w 2409825"/>
                    <a:gd name="T37" fmla="*/ 1080042 h 4565650"/>
                    <a:gd name="T38" fmla="*/ 0 w 2409825"/>
                    <a:gd name="T39" fmla="*/ 929321 h 4565650"/>
                    <a:gd name="T40" fmla="*/ 0 w 2409825"/>
                    <a:gd name="T41" fmla="*/ 897892 h 4565650"/>
                    <a:gd name="T42" fmla="*/ 0 w 2409825"/>
                    <a:gd name="T43" fmla="*/ 15715 h 4565650"/>
                    <a:gd name="T44" fmla="*/ 15708 w 2409825"/>
                    <a:gd name="T45" fmla="*/ 0 h 456565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2409825" h="4565650">
                      <a:moveTo>
                        <a:pt x="130175" y="3871913"/>
                      </a:moveTo>
                      <a:cubicBezTo>
                        <a:pt x="130175" y="3871913"/>
                        <a:pt x="130175" y="3871913"/>
                        <a:pt x="130175" y="4432301"/>
                      </a:cubicBezTo>
                      <a:cubicBezTo>
                        <a:pt x="130175" y="4432301"/>
                        <a:pt x="130175" y="4432301"/>
                        <a:pt x="2279650" y="4432301"/>
                      </a:cubicBezTo>
                      <a:cubicBezTo>
                        <a:pt x="2279650" y="4432301"/>
                        <a:pt x="2279650" y="4432301"/>
                        <a:pt x="2279650" y="3871913"/>
                      </a:cubicBezTo>
                      <a:cubicBezTo>
                        <a:pt x="2279650" y="3871913"/>
                        <a:pt x="2279650" y="3871913"/>
                        <a:pt x="130175" y="3871913"/>
                      </a:cubicBezTo>
                      <a:close/>
                      <a:moveTo>
                        <a:pt x="130175" y="133350"/>
                      </a:moveTo>
                      <a:cubicBezTo>
                        <a:pt x="130175" y="133350"/>
                        <a:pt x="130175" y="133350"/>
                        <a:pt x="130175" y="3741738"/>
                      </a:cubicBezTo>
                      <a:cubicBezTo>
                        <a:pt x="130175" y="3741738"/>
                        <a:pt x="130175" y="3741738"/>
                        <a:pt x="2279650" y="3741738"/>
                      </a:cubicBezTo>
                      <a:cubicBezTo>
                        <a:pt x="2279650" y="3741738"/>
                        <a:pt x="2279650" y="3741738"/>
                        <a:pt x="2279650" y="133350"/>
                      </a:cubicBezTo>
                      <a:cubicBezTo>
                        <a:pt x="2279650" y="133350"/>
                        <a:pt x="2279650" y="133350"/>
                        <a:pt x="130175" y="133350"/>
                      </a:cubicBezTo>
                      <a:close/>
                      <a:moveTo>
                        <a:pt x="65452" y="0"/>
                      </a:moveTo>
                      <a:cubicBezTo>
                        <a:pt x="65452" y="0"/>
                        <a:pt x="65452" y="0"/>
                        <a:pt x="2344373" y="0"/>
                      </a:cubicBezTo>
                      <a:cubicBezTo>
                        <a:pt x="2380074" y="0"/>
                        <a:pt x="2409825" y="26787"/>
                        <a:pt x="2409825" y="65479"/>
                      </a:cubicBezTo>
                      <a:cubicBezTo>
                        <a:pt x="2409825" y="65479"/>
                        <a:pt x="2409825" y="65479"/>
                        <a:pt x="2409825" y="3741214"/>
                      </a:cubicBezTo>
                      <a:cubicBezTo>
                        <a:pt x="2409825" y="3741214"/>
                        <a:pt x="2409825" y="3741214"/>
                        <a:pt x="2409825" y="3872171"/>
                      </a:cubicBezTo>
                      <a:cubicBezTo>
                        <a:pt x="2409825" y="3872171"/>
                        <a:pt x="2409825" y="3872171"/>
                        <a:pt x="2409825" y="4500172"/>
                      </a:cubicBezTo>
                      <a:cubicBezTo>
                        <a:pt x="2409825" y="4535887"/>
                        <a:pt x="2380074" y="4565650"/>
                        <a:pt x="2344373" y="4565650"/>
                      </a:cubicBezTo>
                      <a:cubicBezTo>
                        <a:pt x="2344373" y="4565650"/>
                        <a:pt x="2344373" y="4565650"/>
                        <a:pt x="65452" y="4565650"/>
                      </a:cubicBezTo>
                      <a:cubicBezTo>
                        <a:pt x="26776" y="4565650"/>
                        <a:pt x="0" y="4535887"/>
                        <a:pt x="0" y="4500172"/>
                      </a:cubicBezTo>
                      <a:cubicBezTo>
                        <a:pt x="0" y="4500172"/>
                        <a:pt x="0" y="4500172"/>
                        <a:pt x="0" y="3872171"/>
                      </a:cubicBezTo>
                      <a:cubicBezTo>
                        <a:pt x="0" y="3872171"/>
                        <a:pt x="0" y="3872171"/>
                        <a:pt x="0" y="3741214"/>
                      </a:cubicBezTo>
                      <a:cubicBezTo>
                        <a:pt x="0" y="3741214"/>
                        <a:pt x="0" y="3741214"/>
                        <a:pt x="0" y="65479"/>
                      </a:cubicBezTo>
                      <a:cubicBezTo>
                        <a:pt x="0" y="26787"/>
                        <a:pt x="26776" y="0"/>
                        <a:pt x="65452" y="0"/>
                      </a:cubicBezTo>
                      <a:close/>
                    </a:path>
                  </a:pathLst>
                </a:custGeom>
                <a:solidFill>
                  <a:srgbClr val="59595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72826" name="Freeform 34"/>
                <p:cNvSpPr>
                  <a:spLocks noChangeArrowheads="1"/>
                </p:cNvSpPr>
                <p:nvPr/>
              </p:nvSpPr>
              <p:spPr bwMode="auto">
                <a:xfrm>
                  <a:off x="5865114" y="2953131"/>
                  <a:ext cx="457200" cy="962406"/>
                </a:xfrm>
                <a:custGeom>
                  <a:avLst/>
                  <a:gdLst/>
                  <a:ahLst/>
                  <a:cxnLst/>
                  <a:rect l="0" t="0" r="r" b="b"/>
                  <a:pathLst>
                    <a:path w="1905000" h="4010025">
                      <a:moveTo>
                        <a:pt x="956469" y="3659187"/>
                      </a:moveTo>
                      <a:cubicBezTo>
                        <a:pt x="1051597" y="3659187"/>
                        <a:pt x="1128713" y="3737725"/>
                        <a:pt x="1128713" y="3834606"/>
                      </a:cubicBezTo>
                      <a:cubicBezTo>
                        <a:pt x="1128713" y="3931487"/>
                        <a:pt x="1051597" y="4010025"/>
                        <a:pt x="956469" y="4010025"/>
                      </a:cubicBezTo>
                      <a:cubicBezTo>
                        <a:pt x="861341" y="4010025"/>
                        <a:pt x="784225" y="3931487"/>
                        <a:pt x="784225" y="3834606"/>
                      </a:cubicBezTo>
                      <a:cubicBezTo>
                        <a:pt x="784225" y="3737725"/>
                        <a:pt x="861341" y="3659187"/>
                        <a:pt x="956469" y="3659187"/>
                      </a:cubicBezTo>
                      <a:close/>
                      <a:moveTo>
                        <a:pt x="1360488" y="2247900"/>
                      </a:moveTo>
                      <a:cubicBezTo>
                        <a:pt x="1401696" y="2247900"/>
                        <a:pt x="1435101" y="2281661"/>
                        <a:pt x="1435101" y="2323307"/>
                      </a:cubicBezTo>
                      <a:cubicBezTo>
                        <a:pt x="1435101" y="2364953"/>
                        <a:pt x="1401696" y="2398714"/>
                        <a:pt x="1360488" y="2398714"/>
                      </a:cubicBezTo>
                      <a:cubicBezTo>
                        <a:pt x="1319280" y="2398714"/>
                        <a:pt x="1285875" y="2364953"/>
                        <a:pt x="1285875" y="2323307"/>
                      </a:cubicBezTo>
                      <a:cubicBezTo>
                        <a:pt x="1285875" y="2281661"/>
                        <a:pt x="1319280" y="2247900"/>
                        <a:pt x="1360488" y="2247900"/>
                      </a:cubicBezTo>
                      <a:close/>
                      <a:moveTo>
                        <a:pt x="695325" y="2247900"/>
                      </a:moveTo>
                      <a:cubicBezTo>
                        <a:pt x="737409" y="2247900"/>
                        <a:pt x="771525" y="2281661"/>
                        <a:pt x="771525" y="2323307"/>
                      </a:cubicBezTo>
                      <a:cubicBezTo>
                        <a:pt x="771525" y="2364953"/>
                        <a:pt x="737409" y="2398714"/>
                        <a:pt x="695325" y="2398714"/>
                      </a:cubicBezTo>
                      <a:cubicBezTo>
                        <a:pt x="653241" y="2398714"/>
                        <a:pt x="619125" y="2364953"/>
                        <a:pt x="619125" y="2323307"/>
                      </a:cubicBezTo>
                      <a:cubicBezTo>
                        <a:pt x="619125" y="2281661"/>
                        <a:pt x="653241" y="2247900"/>
                        <a:pt x="695325" y="2247900"/>
                      </a:cubicBezTo>
                      <a:close/>
                      <a:moveTo>
                        <a:pt x="1361282" y="2211387"/>
                      </a:moveTo>
                      <a:cubicBezTo>
                        <a:pt x="1300347" y="2211387"/>
                        <a:pt x="1250950" y="2260784"/>
                        <a:pt x="1250950" y="2321719"/>
                      </a:cubicBezTo>
                      <a:cubicBezTo>
                        <a:pt x="1250950" y="2382654"/>
                        <a:pt x="1300347" y="2432051"/>
                        <a:pt x="1361282" y="2432051"/>
                      </a:cubicBezTo>
                      <a:cubicBezTo>
                        <a:pt x="1422217" y="2432051"/>
                        <a:pt x="1471614" y="2382654"/>
                        <a:pt x="1471614" y="2321719"/>
                      </a:cubicBezTo>
                      <a:cubicBezTo>
                        <a:pt x="1471614" y="2260784"/>
                        <a:pt x="1422217" y="2211387"/>
                        <a:pt x="1361282" y="2211387"/>
                      </a:cubicBezTo>
                      <a:close/>
                      <a:moveTo>
                        <a:pt x="696119" y="2211387"/>
                      </a:moveTo>
                      <a:cubicBezTo>
                        <a:pt x="636061" y="2211387"/>
                        <a:pt x="587375" y="2260784"/>
                        <a:pt x="587375" y="2321719"/>
                      </a:cubicBezTo>
                      <a:cubicBezTo>
                        <a:pt x="587375" y="2382654"/>
                        <a:pt x="636061" y="2432051"/>
                        <a:pt x="696119" y="2432051"/>
                      </a:cubicBezTo>
                      <a:cubicBezTo>
                        <a:pt x="756177" y="2432051"/>
                        <a:pt x="804863" y="2382654"/>
                        <a:pt x="804863" y="2321719"/>
                      </a:cubicBezTo>
                      <a:cubicBezTo>
                        <a:pt x="804863" y="2260784"/>
                        <a:pt x="756177" y="2211387"/>
                        <a:pt x="696119" y="2211387"/>
                      </a:cubicBezTo>
                      <a:close/>
                      <a:moveTo>
                        <a:pt x="1167770" y="1798637"/>
                      </a:moveTo>
                      <a:cubicBezTo>
                        <a:pt x="1351594" y="1798637"/>
                        <a:pt x="1351594" y="1798637"/>
                        <a:pt x="1351594" y="1798637"/>
                      </a:cubicBezTo>
                      <a:cubicBezTo>
                        <a:pt x="1354558" y="1798637"/>
                        <a:pt x="1360488" y="1801600"/>
                        <a:pt x="1360488" y="1807527"/>
                      </a:cubicBezTo>
                      <a:cubicBezTo>
                        <a:pt x="1360488" y="1878647"/>
                        <a:pt x="1360488" y="1878647"/>
                        <a:pt x="1360488" y="1878647"/>
                      </a:cubicBezTo>
                      <a:cubicBezTo>
                        <a:pt x="1360488" y="1884574"/>
                        <a:pt x="1354558" y="1887537"/>
                        <a:pt x="1351594" y="1887537"/>
                      </a:cubicBezTo>
                      <a:cubicBezTo>
                        <a:pt x="1167770" y="1887537"/>
                        <a:pt x="1167770" y="1887537"/>
                        <a:pt x="1167770" y="1887537"/>
                      </a:cubicBezTo>
                      <a:cubicBezTo>
                        <a:pt x="1164805" y="1887537"/>
                        <a:pt x="1158875" y="1884574"/>
                        <a:pt x="1158875" y="1878647"/>
                      </a:cubicBezTo>
                      <a:cubicBezTo>
                        <a:pt x="1158875" y="1807527"/>
                        <a:pt x="1158875" y="1807527"/>
                        <a:pt x="1158875" y="1807527"/>
                      </a:cubicBezTo>
                      <a:cubicBezTo>
                        <a:pt x="1158875" y="1801600"/>
                        <a:pt x="1164805" y="1798637"/>
                        <a:pt x="1167770" y="1798637"/>
                      </a:cubicBezTo>
                      <a:close/>
                      <a:moveTo>
                        <a:pt x="905886" y="1798637"/>
                      </a:moveTo>
                      <a:cubicBezTo>
                        <a:pt x="1084841" y="1798637"/>
                        <a:pt x="1084841" y="1798637"/>
                        <a:pt x="1084841" y="1798637"/>
                      </a:cubicBezTo>
                      <a:cubicBezTo>
                        <a:pt x="1090806" y="1798637"/>
                        <a:pt x="1093788" y="1801600"/>
                        <a:pt x="1093788" y="1807527"/>
                      </a:cubicBezTo>
                      <a:cubicBezTo>
                        <a:pt x="1093788" y="1878647"/>
                        <a:pt x="1093788" y="1878647"/>
                        <a:pt x="1093788" y="1878647"/>
                      </a:cubicBezTo>
                      <a:cubicBezTo>
                        <a:pt x="1093788" y="1884574"/>
                        <a:pt x="1090806" y="1887537"/>
                        <a:pt x="1084841" y="1887537"/>
                      </a:cubicBezTo>
                      <a:cubicBezTo>
                        <a:pt x="905886" y="1887537"/>
                        <a:pt x="905886" y="1887537"/>
                        <a:pt x="905886" y="1887537"/>
                      </a:cubicBezTo>
                      <a:cubicBezTo>
                        <a:pt x="899921" y="1887537"/>
                        <a:pt x="896938" y="1884574"/>
                        <a:pt x="896938" y="1878647"/>
                      </a:cubicBezTo>
                      <a:cubicBezTo>
                        <a:pt x="896938" y="1807527"/>
                        <a:pt x="896938" y="1807527"/>
                        <a:pt x="896938" y="1807527"/>
                      </a:cubicBezTo>
                      <a:cubicBezTo>
                        <a:pt x="896938" y="1801600"/>
                        <a:pt x="899921" y="1798637"/>
                        <a:pt x="905886" y="1798637"/>
                      </a:cubicBezTo>
                      <a:close/>
                      <a:moveTo>
                        <a:pt x="1167770" y="1611312"/>
                      </a:moveTo>
                      <a:cubicBezTo>
                        <a:pt x="1351594" y="1611312"/>
                        <a:pt x="1351594" y="1611312"/>
                        <a:pt x="1351594" y="1611312"/>
                      </a:cubicBezTo>
                      <a:cubicBezTo>
                        <a:pt x="1354558" y="1611312"/>
                        <a:pt x="1360488" y="1614268"/>
                        <a:pt x="1360488" y="1620180"/>
                      </a:cubicBezTo>
                      <a:cubicBezTo>
                        <a:pt x="1360488" y="1691125"/>
                        <a:pt x="1360488" y="1691125"/>
                        <a:pt x="1360488" y="1691125"/>
                      </a:cubicBezTo>
                      <a:cubicBezTo>
                        <a:pt x="1360488" y="1694081"/>
                        <a:pt x="1354558" y="1697037"/>
                        <a:pt x="1351594" y="1697037"/>
                      </a:cubicBezTo>
                      <a:cubicBezTo>
                        <a:pt x="1167770" y="1697037"/>
                        <a:pt x="1167770" y="1697037"/>
                        <a:pt x="1167770" y="1697037"/>
                      </a:cubicBezTo>
                      <a:cubicBezTo>
                        <a:pt x="1164805" y="1697037"/>
                        <a:pt x="1158875" y="1694081"/>
                        <a:pt x="1158875" y="1691125"/>
                      </a:cubicBezTo>
                      <a:cubicBezTo>
                        <a:pt x="1158875" y="1620180"/>
                        <a:pt x="1158875" y="1620180"/>
                        <a:pt x="1158875" y="1620180"/>
                      </a:cubicBezTo>
                      <a:cubicBezTo>
                        <a:pt x="1158875" y="1614268"/>
                        <a:pt x="1164805" y="1611312"/>
                        <a:pt x="1167770" y="1611312"/>
                      </a:cubicBezTo>
                      <a:close/>
                      <a:moveTo>
                        <a:pt x="905886" y="1611312"/>
                      </a:moveTo>
                      <a:cubicBezTo>
                        <a:pt x="1084841" y="1611312"/>
                        <a:pt x="1084841" y="1611312"/>
                        <a:pt x="1084841" y="1611312"/>
                      </a:cubicBezTo>
                      <a:cubicBezTo>
                        <a:pt x="1090806" y="1611312"/>
                        <a:pt x="1093788" y="1614268"/>
                        <a:pt x="1093788" y="1620180"/>
                      </a:cubicBezTo>
                      <a:cubicBezTo>
                        <a:pt x="1093788" y="1691125"/>
                        <a:pt x="1093788" y="1691125"/>
                        <a:pt x="1093788" y="1691125"/>
                      </a:cubicBezTo>
                      <a:cubicBezTo>
                        <a:pt x="1093788" y="1694081"/>
                        <a:pt x="1090806" y="1697037"/>
                        <a:pt x="1084841" y="1697037"/>
                      </a:cubicBezTo>
                      <a:cubicBezTo>
                        <a:pt x="905886" y="1697037"/>
                        <a:pt x="905886" y="1697037"/>
                        <a:pt x="905886" y="1697037"/>
                      </a:cubicBezTo>
                      <a:cubicBezTo>
                        <a:pt x="899921" y="1697037"/>
                        <a:pt x="896938" y="1694081"/>
                        <a:pt x="896938" y="1691125"/>
                      </a:cubicBezTo>
                      <a:cubicBezTo>
                        <a:pt x="896938" y="1620180"/>
                        <a:pt x="896938" y="1620180"/>
                        <a:pt x="896938" y="1620180"/>
                      </a:cubicBezTo>
                      <a:cubicBezTo>
                        <a:pt x="896938" y="1614268"/>
                        <a:pt x="899921" y="1611312"/>
                        <a:pt x="905886" y="1611312"/>
                      </a:cubicBezTo>
                      <a:close/>
                      <a:moveTo>
                        <a:pt x="1167770" y="1422400"/>
                      </a:moveTo>
                      <a:cubicBezTo>
                        <a:pt x="1351594" y="1422400"/>
                        <a:pt x="1351594" y="1422400"/>
                        <a:pt x="1351594" y="1422400"/>
                      </a:cubicBezTo>
                      <a:cubicBezTo>
                        <a:pt x="1354558" y="1422400"/>
                        <a:pt x="1360488" y="1425411"/>
                        <a:pt x="1360488" y="1431432"/>
                      </a:cubicBezTo>
                      <a:cubicBezTo>
                        <a:pt x="1360488" y="1500680"/>
                        <a:pt x="1360488" y="1500680"/>
                        <a:pt x="1360488" y="1500680"/>
                      </a:cubicBezTo>
                      <a:cubicBezTo>
                        <a:pt x="1360488" y="1506702"/>
                        <a:pt x="1354558" y="1509713"/>
                        <a:pt x="1351594" y="1509713"/>
                      </a:cubicBezTo>
                      <a:cubicBezTo>
                        <a:pt x="1167770" y="1509713"/>
                        <a:pt x="1167770" y="1509713"/>
                        <a:pt x="1167770" y="1509713"/>
                      </a:cubicBezTo>
                      <a:cubicBezTo>
                        <a:pt x="1164805" y="1509713"/>
                        <a:pt x="1158875" y="1506702"/>
                        <a:pt x="1158875" y="1500680"/>
                      </a:cubicBezTo>
                      <a:cubicBezTo>
                        <a:pt x="1158875" y="1431432"/>
                        <a:pt x="1158875" y="1431432"/>
                        <a:pt x="1158875" y="1431432"/>
                      </a:cubicBezTo>
                      <a:cubicBezTo>
                        <a:pt x="1158875" y="1425411"/>
                        <a:pt x="1164805" y="1422400"/>
                        <a:pt x="1167770" y="1422400"/>
                      </a:cubicBezTo>
                      <a:close/>
                      <a:moveTo>
                        <a:pt x="905886" y="1422400"/>
                      </a:moveTo>
                      <a:cubicBezTo>
                        <a:pt x="1084841" y="1422400"/>
                        <a:pt x="1084841" y="1422400"/>
                        <a:pt x="1084841" y="1422400"/>
                      </a:cubicBezTo>
                      <a:cubicBezTo>
                        <a:pt x="1090806" y="1422400"/>
                        <a:pt x="1093788" y="1425411"/>
                        <a:pt x="1093788" y="1431432"/>
                      </a:cubicBezTo>
                      <a:cubicBezTo>
                        <a:pt x="1093788" y="1500680"/>
                        <a:pt x="1093788" y="1500680"/>
                        <a:pt x="1093788" y="1500680"/>
                      </a:cubicBezTo>
                      <a:cubicBezTo>
                        <a:pt x="1093788" y="1506702"/>
                        <a:pt x="1090806" y="1509713"/>
                        <a:pt x="1084841" y="1509713"/>
                      </a:cubicBezTo>
                      <a:cubicBezTo>
                        <a:pt x="905886" y="1509713"/>
                        <a:pt x="905886" y="1509713"/>
                        <a:pt x="905886" y="1509713"/>
                      </a:cubicBezTo>
                      <a:cubicBezTo>
                        <a:pt x="899921" y="1509713"/>
                        <a:pt x="896938" y="1506702"/>
                        <a:pt x="896938" y="1500680"/>
                      </a:cubicBezTo>
                      <a:cubicBezTo>
                        <a:pt x="896938" y="1431432"/>
                        <a:pt x="896938" y="1431432"/>
                        <a:pt x="896938" y="1431432"/>
                      </a:cubicBezTo>
                      <a:cubicBezTo>
                        <a:pt x="896938" y="1425411"/>
                        <a:pt x="899921" y="1422400"/>
                        <a:pt x="905886" y="1422400"/>
                      </a:cubicBezTo>
                      <a:close/>
                      <a:moveTo>
                        <a:pt x="581038" y="1325562"/>
                      </a:moveTo>
                      <a:cubicBezTo>
                        <a:pt x="569126" y="1325562"/>
                        <a:pt x="557213" y="1337465"/>
                        <a:pt x="557213" y="1349368"/>
                      </a:cubicBezTo>
                      <a:cubicBezTo>
                        <a:pt x="569126" y="1414832"/>
                        <a:pt x="569126" y="1414832"/>
                        <a:pt x="569126" y="1414832"/>
                      </a:cubicBezTo>
                      <a:cubicBezTo>
                        <a:pt x="569126" y="1417808"/>
                        <a:pt x="572104" y="1423759"/>
                        <a:pt x="575082" y="1423759"/>
                      </a:cubicBezTo>
                      <a:cubicBezTo>
                        <a:pt x="819289" y="1423759"/>
                        <a:pt x="819289" y="1423759"/>
                        <a:pt x="819289" y="1423759"/>
                      </a:cubicBezTo>
                      <a:cubicBezTo>
                        <a:pt x="825245" y="1423759"/>
                        <a:pt x="828223" y="1423759"/>
                        <a:pt x="828223" y="1429711"/>
                      </a:cubicBezTo>
                      <a:cubicBezTo>
                        <a:pt x="828223" y="1501127"/>
                        <a:pt x="828223" y="1501127"/>
                        <a:pt x="828223" y="1501127"/>
                      </a:cubicBezTo>
                      <a:cubicBezTo>
                        <a:pt x="828223" y="1507078"/>
                        <a:pt x="825245" y="1510054"/>
                        <a:pt x="819289" y="1510054"/>
                      </a:cubicBezTo>
                      <a:cubicBezTo>
                        <a:pt x="592951" y="1510054"/>
                        <a:pt x="592951" y="1510054"/>
                        <a:pt x="592951" y="1510054"/>
                      </a:cubicBezTo>
                      <a:cubicBezTo>
                        <a:pt x="589973" y="1510054"/>
                        <a:pt x="586995" y="1513030"/>
                        <a:pt x="586995" y="1518981"/>
                      </a:cubicBezTo>
                      <a:cubicBezTo>
                        <a:pt x="601885" y="1602300"/>
                        <a:pt x="601885" y="1602300"/>
                        <a:pt x="601885" y="1602300"/>
                      </a:cubicBezTo>
                      <a:cubicBezTo>
                        <a:pt x="601885" y="1608251"/>
                        <a:pt x="607842" y="1611227"/>
                        <a:pt x="610820" y="1611227"/>
                      </a:cubicBezTo>
                      <a:cubicBezTo>
                        <a:pt x="819289" y="1611227"/>
                        <a:pt x="819289" y="1611227"/>
                        <a:pt x="819289" y="1611227"/>
                      </a:cubicBezTo>
                      <a:cubicBezTo>
                        <a:pt x="825245" y="1611227"/>
                        <a:pt x="828223" y="1614202"/>
                        <a:pt x="828223" y="1620154"/>
                      </a:cubicBezTo>
                      <a:cubicBezTo>
                        <a:pt x="828223" y="1691570"/>
                        <a:pt x="828223" y="1691570"/>
                        <a:pt x="828223" y="1691570"/>
                      </a:cubicBezTo>
                      <a:cubicBezTo>
                        <a:pt x="828223" y="1694546"/>
                        <a:pt x="825245" y="1697521"/>
                        <a:pt x="819289" y="1697521"/>
                      </a:cubicBezTo>
                      <a:cubicBezTo>
                        <a:pt x="628688" y="1697521"/>
                        <a:pt x="628688" y="1697521"/>
                        <a:pt x="628688" y="1697521"/>
                      </a:cubicBezTo>
                      <a:cubicBezTo>
                        <a:pt x="625710" y="1697521"/>
                        <a:pt x="619754" y="1703473"/>
                        <a:pt x="619754" y="1706448"/>
                      </a:cubicBezTo>
                      <a:cubicBezTo>
                        <a:pt x="634645" y="1792743"/>
                        <a:pt x="634645" y="1792743"/>
                        <a:pt x="634645" y="1792743"/>
                      </a:cubicBezTo>
                      <a:cubicBezTo>
                        <a:pt x="637623" y="1795718"/>
                        <a:pt x="637623" y="1798694"/>
                        <a:pt x="643579" y="1798694"/>
                      </a:cubicBezTo>
                      <a:cubicBezTo>
                        <a:pt x="819289" y="1798694"/>
                        <a:pt x="819289" y="1798694"/>
                        <a:pt x="819289" y="1798694"/>
                      </a:cubicBezTo>
                      <a:cubicBezTo>
                        <a:pt x="825245" y="1798694"/>
                        <a:pt x="828223" y="1801670"/>
                        <a:pt x="828223" y="1807621"/>
                      </a:cubicBezTo>
                      <a:cubicBezTo>
                        <a:pt x="828223" y="1879037"/>
                        <a:pt x="828223" y="1879037"/>
                        <a:pt x="828223" y="1879037"/>
                      </a:cubicBezTo>
                      <a:cubicBezTo>
                        <a:pt x="828223" y="1884989"/>
                        <a:pt x="825245" y="1887964"/>
                        <a:pt x="819289" y="1887964"/>
                      </a:cubicBezTo>
                      <a:cubicBezTo>
                        <a:pt x="661448" y="1887964"/>
                        <a:pt x="661448" y="1887964"/>
                        <a:pt x="661448" y="1887964"/>
                      </a:cubicBezTo>
                      <a:cubicBezTo>
                        <a:pt x="655492" y="1887964"/>
                        <a:pt x="652514" y="1890940"/>
                        <a:pt x="652514" y="1896891"/>
                      </a:cubicBezTo>
                      <a:cubicBezTo>
                        <a:pt x="667404" y="1965332"/>
                        <a:pt x="667404" y="1965332"/>
                        <a:pt x="667404" y="1965332"/>
                      </a:cubicBezTo>
                      <a:cubicBezTo>
                        <a:pt x="667404" y="1965332"/>
                        <a:pt x="667404" y="1965332"/>
                        <a:pt x="667404" y="1968307"/>
                      </a:cubicBezTo>
                      <a:cubicBezTo>
                        <a:pt x="667404" y="1980210"/>
                        <a:pt x="676339" y="1989137"/>
                        <a:pt x="688251" y="1989137"/>
                      </a:cubicBezTo>
                      <a:cubicBezTo>
                        <a:pt x="1566801" y="1989137"/>
                        <a:pt x="1566801" y="1989137"/>
                        <a:pt x="1566801" y="1989137"/>
                      </a:cubicBezTo>
                      <a:cubicBezTo>
                        <a:pt x="1581692" y="1989137"/>
                        <a:pt x="1590626" y="1980210"/>
                        <a:pt x="1590626" y="1965332"/>
                      </a:cubicBezTo>
                      <a:cubicBezTo>
                        <a:pt x="1602538" y="1896891"/>
                        <a:pt x="1602538" y="1896891"/>
                        <a:pt x="1602538" y="1896891"/>
                      </a:cubicBezTo>
                      <a:cubicBezTo>
                        <a:pt x="1605517" y="1890940"/>
                        <a:pt x="1599560" y="1887964"/>
                        <a:pt x="1596582" y="1887964"/>
                      </a:cubicBezTo>
                      <a:cubicBezTo>
                        <a:pt x="1435763" y="1887964"/>
                        <a:pt x="1435763" y="1887964"/>
                        <a:pt x="1435763" y="1887964"/>
                      </a:cubicBezTo>
                      <a:cubicBezTo>
                        <a:pt x="1429807" y="1887964"/>
                        <a:pt x="1426829" y="1884989"/>
                        <a:pt x="1426829" y="1879037"/>
                      </a:cubicBezTo>
                      <a:cubicBezTo>
                        <a:pt x="1426829" y="1807621"/>
                        <a:pt x="1426829" y="1807621"/>
                        <a:pt x="1426829" y="1807621"/>
                      </a:cubicBezTo>
                      <a:cubicBezTo>
                        <a:pt x="1426829" y="1801670"/>
                        <a:pt x="1429807" y="1798694"/>
                        <a:pt x="1435763" y="1798694"/>
                      </a:cubicBezTo>
                      <a:cubicBezTo>
                        <a:pt x="1611473" y="1798694"/>
                        <a:pt x="1611473" y="1798694"/>
                        <a:pt x="1611473" y="1798694"/>
                      </a:cubicBezTo>
                      <a:cubicBezTo>
                        <a:pt x="1614451" y="1798694"/>
                        <a:pt x="1617429" y="1795718"/>
                        <a:pt x="1617429" y="1792743"/>
                      </a:cubicBezTo>
                      <a:cubicBezTo>
                        <a:pt x="1632320" y="1706448"/>
                        <a:pt x="1632320" y="1706448"/>
                        <a:pt x="1632320" y="1706448"/>
                      </a:cubicBezTo>
                      <a:cubicBezTo>
                        <a:pt x="1632320" y="1703473"/>
                        <a:pt x="1629342" y="1697521"/>
                        <a:pt x="1623385" y="1697521"/>
                      </a:cubicBezTo>
                      <a:cubicBezTo>
                        <a:pt x="1435763" y="1697521"/>
                        <a:pt x="1435763" y="1697521"/>
                        <a:pt x="1435763" y="1697521"/>
                      </a:cubicBezTo>
                      <a:cubicBezTo>
                        <a:pt x="1429807" y="1697521"/>
                        <a:pt x="1426829" y="1694546"/>
                        <a:pt x="1426829" y="1691570"/>
                      </a:cubicBezTo>
                      <a:cubicBezTo>
                        <a:pt x="1426829" y="1620154"/>
                        <a:pt x="1426829" y="1620154"/>
                        <a:pt x="1426829" y="1620154"/>
                      </a:cubicBezTo>
                      <a:cubicBezTo>
                        <a:pt x="1426829" y="1614202"/>
                        <a:pt x="1429807" y="1611227"/>
                        <a:pt x="1435763" y="1611227"/>
                      </a:cubicBezTo>
                      <a:cubicBezTo>
                        <a:pt x="1641254" y="1611227"/>
                        <a:pt x="1641254" y="1611227"/>
                        <a:pt x="1641254" y="1611227"/>
                      </a:cubicBezTo>
                      <a:cubicBezTo>
                        <a:pt x="1644232" y="1611227"/>
                        <a:pt x="1647210" y="1608251"/>
                        <a:pt x="1647210" y="1602300"/>
                      </a:cubicBezTo>
                      <a:cubicBezTo>
                        <a:pt x="1659123" y="1518981"/>
                        <a:pt x="1659123" y="1518981"/>
                        <a:pt x="1659123" y="1518981"/>
                      </a:cubicBezTo>
                      <a:cubicBezTo>
                        <a:pt x="1662101" y="1513030"/>
                        <a:pt x="1656145" y="1510054"/>
                        <a:pt x="1653167" y="1510054"/>
                      </a:cubicBezTo>
                      <a:cubicBezTo>
                        <a:pt x="1435763" y="1510054"/>
                        <a:pt x="1435763" y="1510054"/>
                        <a:pt x="1435763" y="1510054"/>
                      </a:cubicBezTo>
                      <a:cubicBezTo>
                        <a:pt x="1429807" y="1510054"/>
                        <a:pt x="1426829" y="1507078"/>
                        <a:pt x="1426829" y="1501127"/>
                      </a:cubicBezTo>
                      <a:cubicBezTo>
                        <a:pt x="1426829" y="1429711"/>
                        <a:pt x="1426829" y="1429711"/>
                        <a:pt x="1426829" y="1429711"/>
                      </a:cubicBezTo>
                      <a:cubicBezTo>
                        <a:pt x="1426829" y="1423759"/>
                        <a:pt x="1429807" y="1423759"/>
                        <a:pt x="1435763" y="1423759"/>
                      </a:cubicBezTo>
                      <a:cubicBezTo>
                        <a:pt x="1668057" y="1423759"/>
                        <a:pt x="1668057" y="1423759"/>
                        <a:pt x="1668057" y="1423759"/>
                      </a:cubicBezTo>
                      <a:cubicBezTo>
                        <a:pt x="1674014" y="1423759"/>
                        <a:pt x="1674014" y="1417808"/>
                        <a:pt x="1674014" y="1414832"/>
                      </a:cubicBezTo>
                      <a:cubicBezTo>
                        <a:pt x="1685926" y="1349368"/>
                        <a:pt x="1685926" y="1349368"/>
                        <a:pt x="1685926" y="1349368"/>
                      </a:cubicBezTo>
                      <a:cubicBezTo>
                        <a:pt x="1685926" y="1337465"/>
                        <a:pt x="1674014" y="1325562"/>
                        <a:pt x="1662101" y="1325562"/>
                      </a:cubicBezTo>
                      <a:cubicBezTo>
                        <a:pt x="581038" y="1325562"/>
                        <a:pt x="581038" y="1325562"/>
                        <a:pt x="581038" y="1325562"/>
                      </a:cubicBezTo>
                      <a:close/>
                      <a:moveTo>
                        <a:pt x="259347" y="1182687"/>
                      </a:moveTo>
                      <a:cubicBezTo>
                        <a:pt x="238517" y="1182687"/>
                        <a:pt x="220663" y="1200531"/>
                        <a:pt x="220663" y="1221350"/>
                      </a:cubicBezTo>
                      <a:cubicBezTo>
                        <a:pt x="220663" y="1245142"/>
                        <a:pt x="238517" y="1260012"/>
                        <a:pt x="259347" y="1260012"/>
                      </a:cubicBezTo>
                      <a:cubicBezTo>
                        <a:pt x="259347" y="1260012"/>
                        <a:pt x="259347" y="1260012"/>
                        <a:pt x="417055" y="1260012"/>
                      </a:cubicBezTo>
                      <a:cubicBezTo>
                        <a:pt x="417055" y="1260012"/>
                        <a:pt x="417055" y="1260012"/>
                        <a:pt x="559886" y="2092747"/>
                      </a:cubicBezTo>
                      <a:cubicBezTo>
                        <a:pt x="565837" y="2110591"/>
                        <a:pt x="580716" y="2122487"/>
                        <a:pt x="598569" y="2122487"/>
                      </a:cubicBezTo>
                      <a:cubicBezTo>
                        <a:pt x="598569" y="2122487"/>
                        <a:pt x="598569" y="2122487"/>
                        <a:pt x="1461505" y="2122487"/>
                      </a:cubicBezTo>
                      <a:cubicBezTo>
                        <a:pt x="1482334" y="2122487"/>
                        <a:pt x="1500188" y="2104643"/>
                        <a:pt x="1500188" y="2083824"/>
                      </a:cubicBezTo>
                      <a:cubicBezTo>
                        <a:pt x="1500188" y="2063006"/>
                        <a:pt x="1482334" y="2045162"/>
                        <a:pt x="1461505" y="2045162"/>
                      </a:cubicBezTo>
                      <a:cubicBezTo>
                        <a:pt x="1461505" y="2045162"/>
                        <a:pt x="1461505" y="2045162"/>
                        <a:pt x="631301" y="2045162"/>
                      </a:cubicBezTo>
                      <a:cubicBezTo>
                        <a:pt x="631301" y="2045162"/>
                        <a:pt x="631301" y="2045162"/>
                        <a:pt x="488471" y="1215402"/>
                      </a:cubicBezTo>
                      <a:cubicBezTo>
                        <a:pt x="485495" y="1197557"/>
                        <a:pt x="467641" y="1182687"/>
                        <a:pt x="449787" y="1182687"/>
                      </a:cubicBezTo>
                      <a:cubicBezTo>
                        <a:pt x="449787" y="1182687"/>
                        <a:pt x="449787" y="1182687"/>
                        <a:pt x="259347" y="1182687"/>
                      </a:cubicBezTo>
                      <a:close/>
                      <a:moveTo>
                        <a:pt x="29766" y="319087"/>
                      </a:moveTo>
                      <a:cubicBezTo>
                        <a:pt x="1875235" y="319087"/>
                        <a:pt x="1875235" y="319087"/>
                        <a:pt x="1875235" y="319087"/>
                      </a:cubicBezTo>
                      <a:cubicBezTo>
                        <a:pt x="1890117" y="319087"/>
                        <a:pt x="1905000" y="333970"/>
                        <a:pt x="1905000" y="348853"/>
                      </a:cubicBezTo>
                      <a:cubicBezTo>
                        <a:pt x="1905000" y="3265884"/>
                        <a:pt x="1905000" y="3265884"/>
                        <a:pt x="1905000" y="3265884"/>
                      </a:cubicBezTo>
                      <a:cubicBezTo>
                        <a:pt x="1905000" y="3283744"/>
                        <a:pt x="1890117" y="3295650"/>
                        <a:pt x="1875235" y="3295650"/>
                      </a:cubicBezTo>
                      <a:cubicBezTo>
                        <a:pt x="29766" y="3295650"/>
                        <a:pt x="29766" y="3295650"/>
                        <a:pt x="29766" y="3295650"/>
                      </a:cubicBezTo>
                      <a:cubicBezTo>
                        <a:pt x="11906" y="3295650"/>
                        <a:pt x="0" y="3283744"/>
                        <a:pt x="0" y="3265884"/>
                      </a:cubicBezTo>
                      <a:cubicBezTo>
                        <a:pt x="0" y="348853"/>
                        <a:pt x="0" y="348853"/>
                        <a:pt x="0" y="348853"/>
                      </a:cubicBezTo>
                      <a:cubicBezTo>
                        <a:pt x="0" y="333970"/>
                        <a:pt x="11906" y="319087"/>
                        <a:pt x="29766" y="319087"/>
                      </a:cubicBezTo>
                      <a:close/>
                      <a:moveTo>
                        <a:pt x="581451" y="0"/>
                      </a:moveTo>
                      <a:cubicBezTo>
                        <a:pt x="1337838" y="0"/>
                        <a:pt x="1337838" y="0"/>
                        <a:pt x="1337838" y="0"/>
                      </a:cubicBezTo>
                      <a:cubicBezTo>
                        <a:pt x="1373572" y="0"/>
                        <a:pt x="1403351" y="29986"/>
                        <a:pt x="1403351" y="65970"/>
                      </a:cubicBezTo>
                      <a:cubicBezTo>
                        <a:pt x="1403351" y="104952"/>
                        <a:pt x="1373572" y="134938"/>
                        <a:pt x="1337838" y="134938"/>
                      </a:cubicBezTo>
                      <a:cubicBezTo>
                        <a:pt x="581451" y="134938"/>
                        <a:pt x="581451" y="134938"/>
                        <a:pt x="581451" y="134938"/>
                      </a:cubicBezTo>
                      <a:cubicBezTo>
                        <a:pt x="542739" y="134938"/>
                        <a:pt x="515938" y="104952"/>
                        <a:pt x="515938" y="65970"/>
                      </a:cubicBezTo>
                      <a:cubicBezTo>
                        <a:pt x="515938" y="29986"/>
                        <a:pt x="542739" y="0"/>
                        <a:pt x="581451" y="0"/>
                      </a:cubicBezTo>
                      <a:close/>
                    </a:path>
                  </a:pathLst>
                </a:custGeom>
                <a:solidFill>
                  <a:srgbClr val="98A6CC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</p:grpSp>
      <p:grpSp>
        <p:nvGrpSpPr>
          <p:cNvPr id="72720" name="Group 41"/>
          <p:cNvGrpSpPr>
            <a:grpSpLocks noChangeAspect="1"/>
          </p:cNvGrpSpPr>
          <p:nvPr/>
        </p:nvGrpSpPr>
        <p:grpSpPr bwMode="auto">
          <a:xfrm>
            <a:off x="2535238" y="4748213"/>
            <a:ext cx="368300" cy="368300"/>
            <a:chOff x="1854516" y="1847850"/>
            <a:chExt cx="269875" cy="269875"/>
          </a:xfrm>
        </p:grpSpPr>
        <p:sp>
          <p:nvSpPr>
            <p:cNvPr id="72817" name="Oval 50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/>
            </a:solidFill>
            <a:ln w="9525" algn="ctr">
              <a:solidFill>
                <a:srgbClr val="595959"/>
              </a:solidFill>
              <a:round/>
              <a:headEnd/>
              <a:tailEnd/>
            </a:ln>
          </p:spPr>
          <p:txBody>
            <a:bodyPr lIns="109728" tIns="54864" rIns="109728" bIns="54864"/>
            <a:lstStyle/>
            <a:p>
              <a:endParaRPr lang="bg-BG">
                <a:solidFill>
                  <a:schemeClr val="bg1"/>
                </a:solidFill>
                <a:latin typeface="PT Sans Caption"/>
                <a:sym typeface="PT Sans Caption"/>
              </a:endParaRPr>
            </a:p>
          </p:txBody>
        </p:sp>
        <p:sp>
          <p:nvSpPr>
            <p:cNvPr id="72818" name="Freeform 51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9525 w 61"/>
                <a:gd name="T1" fmla="*/ 0 h 110"/>
                <a:gd name="T2" fmla="*/ 0 w 61"/>
                <a:gd name="T3" fmla="*/ 11112 h 110"/>
                <a:gd name="T4" fmla="*/ 76200 w 61"/>
                <a:gd name="T5" fmla="*/ 87313 h 110"/>
                <a:gd name="T6" fmla="*/ 0 w 61"/>
                <a:gd name="T7" fmla="*/ 165100 h 110"/>
                <a:gd name="T8" fmla="*/ 9525 w 61"/>
                <a:gd name="T9" fmla="*/ 174625 h 110"/>
                <a:gd name="T10" fmla="*/ 85725 w 61"/>
                <a:gd name="T11" fmla="*/ 98425 h 110"/>
                <a:gd name="T12" fmla="*/ 96837 w 61"/>
                <a:gd name="T13" fmla="*/ 87313 h 110"/>
                <a:gd name="T14" fmla="*/ 85725 w 61"/>
                <a:gd name="T15" fmla="*/ 77788 h 110"/>
                <a:gd name="T16" fmla="*/ 9525 w 61"/>
                <a:gd name="T17" fmla="*/ 0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1"/>
                <a:gd name="T28" fmla="*/ 0 h 110"/>
                <a:gd name="T29" fmla="*/ 61 w 61"/>
                <a:gd name="T30" fmla="*/ 110 h 1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109728" tIns="54864" rIns="109728" bIns="54864"/>
            <a:lstStyle/>
            <a:p>
              <a:endParaRPr lang="ru-RU"/>
            </a:p>
          </p:txBody>
        </p:sp>
      </p:grpSp>
      <p:grpSp>
        <p:nvGrpSpPr>
          <p:cNvPr id="72721" name="Group 49"/>
          <p:cNvGrpSpPr>
            <a:grpSpLocks noChangeAspect="1"/>
          </p:cNvGrpSpPr>
          <p:nvPr/>
        </p:nvGrpSpPr>
        <p:grpSpPr bwMode="auto">
          <a:xfrm>
            <a:off x="4787900" y="4748213"/>
            <a:ext cx="368300" cy="368300"/>
            <a:chOff x="1854516" y="1847850"/>
            <a:chExt cx="269875" cy="269875"/>
          </a:xfrm>
        </p:grpSpPr>
        <p:sp>
          <p:nvSpPr>
            <p:cNvPr id="72815" name="Oval 50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/>
            </a:solidFill>
            <a:ln w="9525" algn="ctr">
              <a:solidFill>
                <a:srgbClr val="595959"/>
              </a:solidFill>
              <a:round/>
              <a:headEnd/>
              <a:tailEnd/>
            </a:ln>
          </p:spPr>
          <p:txBody>
            <a:bodyPr lIns="109728" tIns="54864" rIns="109728" bIns="54864"/>
            <a:lstStyle/>
            <a:p>
              <a:endParaRPr lang="bg-BG">
                <a:solidFill>
                  <a:schemeClr val="bg1"/>
                </a:solidFill>
                <a:latin typeface="PT Sans Caption"/>
                <a:sym typeface="PT Sans Caption"/>
              </a:endParaRPr>
            </a:p>
          </p:txBody>
        </p:sp>
        <p:sp>
          <p:nvSpPr>
            <p:cNvPr id="72816" name="Freeform 51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9525 w 61"/>
                <a:gd name="T1" fmla="*/ 0 h 110"/>
                <a:gd name="T2" fmla="*/ 0 w 61"/>
                <a:gd name="T3" fmla="*/ 11112 h 110"/>
                <a:gd name="T4" fmla="*/ 76200 w 61"/>
                <a:gd name="T5" fmla="*/ 87313 h 110"/>
                <a:gd name="T6" fmla="*/ 0 w 61"/>
                <a:gd name="T7" fmla="*/ 165100 h 110"/>
                <a:gd name="T8" fmla="*/ 9525 w 61"/>
                <a:gd name="T9" fmla="*/ 174625 h 110"/>
                <a:gd name="T10" fmla="*/ 85725 w 61"/>
                <a:gd name="T11" fmla="*/ 98425 h 110"/>
                <a:gd name="T12" fmla="*/ 96837 w 61"/>
                <a:gd name="T13" fmla="*/ 87313 h 110"/>
                <a:gd name="T14" fmla="*/ 85725 w 61"/>
                <a:gd name="T15" fmla="*/ 77788 h 110"/>
                <a:gd name="T16" fmla="*/ 9525 w 61"/>
                <a:gd name="T17" fmla="*/ 0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1"/>
                <a:gd name="T28" fmla="*/ 0 h 110"/>
                <a:gd name="T29" fmla="*/ 61 w 61"/>
                <a:gd name="T30" fmla="*/ 110 h 1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109728" tIns="54864" rIns="109728" bIns="54864"/>
            <a:lstStyle/>
            <a:p>
              <a:endParaRPr lang="ru-RU"/>
            </a:p>
          </p:txBody>
        </p:sp>
      </p:grpSp>
      <p:grpSp>
        <p:nvGrpSpPr>
          <p:cNvPr id="72722" name="Group 52"/>
          <p:cNvGrpSpPr>
            <a:grpSpLocks noChangeAspect="1"/>
          </p:cNvGrpSpPr>
          <p:nvPr/>
        </p:nvGrpSpPr>
        <p:grpSpPr bwMode="auto">
          <a:xfrm>
            <a:off x="7040563" y="4748213"/>
            <a:ext cx="368300" cy="368300"/>
            <a:chOff x="1854516" y="1847850"/>
            <a:chExt cx="269875" cy="269875"/>
          </a:xfrm>
        </p:grpSpPr>
        <p:sp>
          <p:nvSpPr>
            <p:cNvPr id="72813" name="Oval 53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/>
            </a:solidFill>
            <a:ln w="9525" algn="ctr">
              <a:solidFill>
                <a:srgbClr val="595959"/>
              </a:solidFill>
              <a:round/>
              <a:headEnd/>
              <a:tailEnd/>
            </a:ln>
          </p:spPr>
          <p:txBody>
            <a:bodyPr lIns="109728" tIns="54864" rIns="109728" bIns="54864"/>
            <a:lstStyle/>
            <a:p>
              <a:endParaRPr lang="bg-BG">
                <a:solidFill>
                  <a:schemeClr val="bg1"/>
                </a:solidFill>
                <a:latin typeface="PT Sans Caption"/>
                <a:sym typeface="PT Sans Caption"/>
              </a:endParaRPr>
            </a:p>
          </p:txBody>
        </p:sp>
        <p:sp>
          <p:nvSpPr>
            <p:cNvPr id="72814" name="Freeform 54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9525 w 61"/>
                <a:gd name="T1" fmla="*/ 0 h 110"/>
                <a:gd name="T2" fmla="*/ 0 w 61"/>
                <a:gd name="T3" fmla="*/ 11112 h 110"/>
                <a:gd name="T4" fmla="*/ 76200 w 61"/>
                <a:gd name="T5" fmla="*/ 87313 h 110"/>
                <a:gd name="T6" fmla="*/ 0 w 61"/>
                <a:gd name="T7" fmla="*/ 165100 h 110"/>
                <a:gd name="T8" fmla="*/ 9525 w 61"/>
                <a:gd name="T9" fmla="*/ 174625 h 110"/>
                <a:gd name="T10" fmla="*/ 85725 w 61"/>
                <a:gd name="T11" fmla="*/ 98425 h 110"/>
                <a:gd name="T12" fmla="*/ 96837 w 61"/>
                <a:gd name="T13" fmla="*/ 87313 h 110"/>
                <a:gd name="T14" fmla="*/ 85725 w 61"/>
                <a:gd name="T15" fmla="*/ 77788 h 110"/>
                <a:gd name="T16" fmla="*/ 9525 w 61"/>
                <a:gd name="T17" fmla="*/ 0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1"/>
                <a:gd name="T28" fmla="*/ 0 h 110"/>
                <a:gd name="T29" fmla="*/ 61 w 61"/>
                <a:gd name="T30" fmla="*/ 110 h 1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109728" tIns="54864" rIns="109728" bIns="54864"/>
            <a:lstStyle/>
            <a:p>
              <a:endParaRPr lang="ru-RU"/>
            </a:p>
          </p:txBody>
        </p:sp>
      </p:grpSp>
      <p:grpSp>
        <p:nvGrpSpPr>
          <p:cNvPr id="72723" name="Group 55"/>
          <p:cNvGrpSpPr>
            <a:grpSpLocks noChangeAspect="1"/>
          </p:cNvGrpSpPr>
          <p:nvPr/>
        </p:nvGrpSpPr>
        <p:grpSpPr bwMode="auto">
          <a:xfrm>
            <a:off x="9291638" y="4748213"/>
            <a:ext cx="368300" cy="368300"/>
            <a:chOff x="1854516" y="1847850"/>
            <a:chExt cx="269875" cy="269875"/>
          </a:xfrm>
        </p:grpSpPr>
        <p:sp>
          <p:nvSpPr>
            <p:cNvPr id="72811" name="Oval 56"/>
            <p:cNvSpPr>
              <a:spLocks noChangeArrowheads="1"/>
            </p:cNvSpPr>
            <p:nvPr/>
          </p:nvSpPr>
          <p:spPr bwMode="auto">
            <a:xfrm>
              <a:off x="1854516" y="1847850"/>
              <a:ext cx="269875" cy="269875"/>
            </a:xfrm>
            <a:prstGeom prst="ellipse">
              <a:avLst/>
            </a:prstGeom>
            <a:solidFill>
              <a:srgbClr val="EBE60E"/>
            </a:solidFill>
            <a:ln w="9525" algn="ctr">
              <a:solidFill>
                <a:srgbClr val="595959"/>
              </a:solidFill>
              <a:round/>
              <a:headEnd/>
              <a:tailEnd/>
            </a:ln>
          </p:spPr>
          <p:txBody>
            <a:bodyPr lIns="109728" tIns="54864" rIns="109728" bIns="54864"/>
            <a:lstStyle/>
            <a:p>
              <a:endParaRPr lang="bg-BG">
                <a:solidFill>
                  <a:schemeClr val="bg1"/>
                </a:solidFill>
                <a:latin typeface="PT Sans Caption"/>
                <a:sym typeface="PT Sans Caption"/>
              </a:endParaRPr>
            </a:p>
          </p:txBody>
        </p:sp>
        <p:sp>
          <p:nvSpPr>
            <p:cNvPr id="72812" name="Freeform 57"/>
            <p:cNvSpPr>
              <a:spLocks/>
            </p:cNvSpPr>
            <p:nvPr/>
          </p:nvSpPr>
          <p:spPr bwMode="auto">
            <a:xfrm>
              <a:off x="1954529" y="1895475"/>
              <a:ext cx="96837" cy="174625"/>
            </a:xfrm>
            <a:custGeom>
              <a:avLst/>
              <a:gdLst>
                <a:gd name="T0" fmla="*/ 9525 w 61"/>
                <a:gd name="T1" fmla="*/ 0 h 110"/>
                <a:gd name="T2" fmla="*/ 0 w 61"/>
                <a:gd name="T3" fmla="*/ 11112 h 110"/>
                <a:gd name="T4" fmla="*/ 76200 w 61"/>
                <a:gd name="T5" fmla="*/ 87313 h 110"/>
                <a:gd name="T6" fmla="*/ 0 w 61"/>
                <a:gd name="T7" fmla="*/ 165100 h 110"/>
                <a:gd name="T8" fmla="*/ 9525 w 61"/>
                <a:gd name="T9" fmla="*/ 174625 h 110"/>
                <a:gd name="T10" fmla="*/ 85725 w 61"/>
                <a:gd name="T11" fmla="*/ 98425 h 110"/>
                <a:gd name="T12" fmla="*/ 96837 w 61"/>
                <a:gd name="T13" fmla="*/ 87313 h 110"/>
                <a:gd name="T14" fmla="*/ 85725 w 61"/>
                <a:gd name="T15" fmla="*/ 77788 h 110"/>
                <a:gd name="T16" fmla="*/ 9525 w 61"/>
                <a:gd name="T17" fmla="*/ 0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1"/>
                <a:gd name="T28" fmla="*/ 0 h 110"/>
                <a:gd name="T29" fmla="*/ 61 w 61"/>
                <a:gd name="T30" fmla="*/ 110 h 1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 w="9525" cap="flat" cmpd="sng" algn="ctr">
              <a:solidFill>
                <a:srgbClr val="595959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109728" tIns="54864" rIns="109728" bIns="54864"/>
            <a:lstStyle/>
            <a:p>
              <a:endParaRPr lang="ru-RU"/>
            </a:p>
          </p:txBody>
        </p:sp>
      </p:grpSp>
      <p:sp>
        <p:nvSpPr>
          <p:cNvPr id="72724" name="Oval 20"/>
          <p:cNvSpPr>
            <a:spLocks noChangeAspect="1" noChangeArrowheads="1"/>
          </p:cNvSpPr>
          <p:nvPr/>
        </p:nvSpPr>
        <p:spPr bwMode="auto">
          <a:xfrm>
            <a:off x="630238" y="5303838"/>
            <a:ext cx="246062" cy="246062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1</a:t>
            </a:r>
          </a:p>
        </p:txBody>
      </p:sp>
      <p:sp>
        <p:nvSpPr>
          <p:cNvPr id="72725" name="Oval 20"/>
          <p:cNvSpPr>
            <a:spLocks noChangeAspect="1" noChangeArrowheads="1"/>
          </p:cNvSpPr>
          <p:nvPr/>
        </p:nvSpPr>
        <p:spPr bwMode="auto">
          <a:xfrm>
            <a:off x="2882900" y="5303838"/>
            <a:ext cx="244475" cy="246062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2</a:t>
            </a:r>
          </a:p>
        </p:txBody>
      </p:sp>
      <p:sp>
        <p:nvSpPr>
          <p:cNvPr id="72726" name="Oval 20"/>
          <p:cNvSpPr>
            <a:spLocks noChangeAspect="1" noChangeArrowheads="1"/>
          </p:cNvSpPr>
          <p:nvPr/>
        </p:nvSpPr>
        <p:spPr bwMode="auto">
          <a:xfrm>
            <a:off x="5133975" y="5303838"/>
            <a:ext cx="246063" cy="246062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3</a:t>
            </a:r>
          </a:p>
        </p:txBody>
      </p:sp>
      <p:sp>
        <p:nvSpPr>
          <p:cNvPr id="72727" name="Oval 20"/>
          <p:cNvSpPr>
            <a:spLocks noChangeAspect="1" noChangeArrowheads="1"/>
          </p:cNvSpPr>
          <p:nvPr/>
        </p:nvSpPr>
        <p:spPr bwMode="auto">
          <a:xfrm>
            <a:off x="7386638" y="5303838"/>
            <a:ext cx="246062" cy="246062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4</a:t>
            </a:r>
          </a:p>
        </p:txBody>
      </p:sp>
      <p:sp>
        <p:nvSpPr>
          <p:cNvPr id="72728" name="Oval 20"/>
          <p:cNvSpPr>
            <a:spLocks noChangeAspect="1" noChangeArrowheads="1"/>
          </p:cNvSpPr>
          <p:nvPr/>
        </p:nvSpPr>
        <p:spPr bwMode="auto">
          <a:xfrm>
            <a:off x="9639300" y="5303838"/>
            <a:ext cx="244475" cy="246062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5</a:t>
            </a:r>
          </a:p>
        </p:txBody>
      </p:sp>
      <p:sp>
        <p:nvSpPr>
          <p:cNvPr id="66" name="Freeform 65"/>
          <p:cNvSpPr/>
          <p:nvPr/>
        </p:nvSpPr>
        <p:spPr>
          <a:xfrm>
            <a:off x="3116263" y="2584450"/>
            <a:ext cx="4500562" cy="1717675"/>
          </a:xfrm>
          <a:custGeom>
            <a:avLst/>
            <a:gdLst>
              <a:gd name="connsiteX0" fmla="*/ 0 w 4600575"/>
              <a:gd name="connsiteY0" fmla="*/ 866775 h 1962150"/>
              <a:gd name="connsiteX1" fmla="*/ 571500 w 4600575"/>
              <a:gd name="connsiteY1" fmla="*/ 514350 h 1962150"/>
              <a:gd name="connsiteX2" fmla="*/ 1838325 w 4600575"/>
              <a:gd name="connsiteY2" fmla="*/ 1238250 h 1962150"/>
              <a:gd name="connsiteX3" fmla="*/ 4038600 w 4600575"/>
              <a:gd name="connsiteY3" fmla="*/ 0 h 1962150"/>
              <a:gd name="connsiteX4" fmla="*/ 4600575 w 4600575"/>
              <a:gd name="connsiteY4" fmla="*/ 371475 h 1962150"/>
              <a:gd name="connsiteX5" fmla="*/ 1847850 w 4600575"/>
              <a:gd name="connsiteY5" fmla="*/ 1962150 h 1962150"/>
              <a:gd name="connsiteX6" fmla="*/ 0 w 4600575"/>
              <a:gd name="connsiteY6" fmla="*/ 866775 h 1962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00575" h="1962150">
                <a:moveTo>
                  <a:pt x="0" y="866775"/>
                </a:moveTo>
                <a:lnTo>
                  <a:pt x="571500" y="514350"/>
                </a:lnTo>
                <a:lnTo>
                  <a:pt x="1838325" y="1238250"/>
                </a:lnTo>
                <a:lnTo>
                  <a:pt x="4038600" y="0"/>
                </a:lnTo>
                <a:lnTo>
                  <a:pt x="4600575" y="371475"/>
                </a:lnTo>
                <a:lnTo>
                  <a:pt x="1847850" y="1962150"/>
                </a:lnTo>
                <a:lnTo>
                  <a:pt x="0" y="866775"/>
                </a:lnTo>
                <a:close/>
              </a:path>
            </a:pathLst>
          </a:custGeom>
          <a:solidFill>
            <a:srgbClr val="F2EB3B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bg-BG" sz="1200" dirty="0">
              <a:solidFill>
                <a:srgbClr val="FFFFFF"/>
              </a:solidFill>
              <a:sym typeface="PT Sans Caption" panose="020B0603020203020204" pitchFamily="34" charset="0"/>
            </a:endParaRPr>
          </a:p>
        </p:txBody>
      </p:sp>
      <p:grpSp>
        <p:nvGrpSpPr>
          <p:cNvPr id="72730" name="Group 162"/>
          <p:cNvGrpSpPr>
            <a:grpSpLocks noChangeAspect="1"/>
          </p:cNvGrpSpPr>
          <p:nvPr/>
        </p:nvGrpSpPr>
        <p:grpSpPr bwMode="auto">
          <a:xfrm>
            <a:off x="3629025" y="2443163"/>
            <a:ext cx="457200" cy="457200"/>
            <a:chOff x="5273799" y="2606040"/>
            <a:chExt cx="1644396" cy="1645920"/>
          </a:xfrm>
        </p:grpSpPr>
        <p:sp>
          <p:nvSpPr>
            <p:cNvPr id="72807" name="AutoShape 13"/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72808" name="Group 164"/>
            <p:cNvGrpSpPr>
              <a:grpSpLocks/>
            </p:cNvGrpSpPr>
            <p:nvPr/>
          </p:nvGrpSpPr>
          <p:grpSpPr bwMode="auto">
            <a:xfrm>
              <a:off x="5407149" y="2775204"/>
              <a:ext cx="1379220" cy="1306068"/>
              <a:chOff x="5407149" y="2775204"/>
              <a:chExt cx="1379220" cy="1306068"/>
            </a:xfrm>
          </p:grpSpPr>
          <p:sp>
            <p:nvSpPr>
              <p:cNvPr id="72809" name="Freeform 15"/>
              <p:cNvSpPr>
                <a:spLocks noEditPoints="1"/>
              </p:cNvSpPr>
              <p:nvPr/>
            </p:nvSpPr>
            <p:spPr bwMode="auto">
              <a:xfrm>
                <a:off x="5602983" y="3357372"/>
                <a:ext cx="987552" cy="308229"/>
              </a:xfrm>
              <a:custGeom>
                <a:avLst/>
                <a:gdLst>
                  <a:gd name="T0" fmla="*/ 7135 w 1384"/>
                  <a:gd name="T1" fmla="*/ 130872 h 431"/>
                  <a:gd name="T2" fmla="*/ 0 w 1384"/>
                  <a:gd name="T3" fmla="*/ 7151 h 431"/>
                  <a:gd name="T4" fmla="*/ 208356 w 1384"/>
                  <a:gd name="T5" fmla="*/ 0 h 431"/>
                  <a:gd name="T6" fmla="*/ 215492 w 1384"/>
                  <a:gd name="T7" fmla="*/ 123721 h 431"/>
                  <a:gd name="T8" fmla="*/ 472370 w 1384"/>
                  <a:gd name="T9" fmla="*/ 123721 h 431"/>
                  <a:gd name="T10" fmla="*/ 465234 w 1384"/>
                  <a:gd name="T11" fmla="*/ 0 h 431"/>
                  <a:gd name="T12" fmla="*/ 257591 w 1384"/>
                  <a:gd name="T13" fmla="*/ 7151 h 431"/>
                  <a:gd name="T14" fmla="*/ 264727 w 1384"/>
                  <a:gd name="T15" fmla="*/ 130872 h 431"/>
                  <a:gd name="T16" fmla="*/ 472370 w 1384"/>
                  <a:gd name="T17" fmla="*/ 123721 h 431"/>
                  <a:gd name="T18" fmla="*/ 729961 w 1384"/>
                  <a:gd name="T19" fmla="*/ 7151 h 431"/>
                  <a:gd name="T20" fmla="*/ 522318 w 1384"/>
                  <a:gd name="T21" fmla="*/ 0 h 431"/>
                  <a:gd name="T22" fmla="*/ 515182 w 1384"/>
                  <a:gd name="T23" fmla="*/ 123721 h 431"/>
                  <a:gd name="T24" fmla="*/ 722825 w 1384"/>
                  <a:gd name="T25" fmla="*/ 130872 h 431"/>
                  <a:gd name="T26" fmla="*/ 987552 w 1384"/>
                  <a:gd name="T27" fmla="*/ 123721 h 431"/>
                  <a:gd name="T28" fmla="*/ 980417 w 1384"/>
                  <a:gd name="T29" fmla="*/ 0 h 431"/>
                  <a:gd name="T30" fmla="*/ 772060 w 1384"/>
                  <a:gd name="T31" fmla="*/ 7151 h 431"/>
                  <a:gd name="T32" fmla="*/ 779196 w 1384"/>
                  <a:gd name="T33" fmla="*/ 130872 h 431"/>
                  <a:gd name="T34" fmla="*/ 987552 w 1384"/>
                  <a:gd name="T35" fmla="*/ 123721 h 431"/>
                  <a:gd name="T36" fmla="*/ 215492 w 1384"/>
                  <a:gd name="T37" fmla="*/ 184508 h 431"/>
                  <a:gd name="T38" fmla="*/ 7135 w 1384"/>
                  <a:gd name="T39" fmla="*/ 177357 h 431"/>
                  <a:gd name="T40" fmla="*/ 0 w 1384"/>
                  <a:gd name="T41" fmla="*/ 301078 h 431"/>
                  <a:gd name="T42" fmla="*/ 208356 w 1384"/>
                  <a:gd name="T43" fmla="*/ 308229 h 431"/>
                  <a:gd name="T44" fmla="*/ 472370 w 1384"/>
                  <a:gd name="T45" fmla="*/ 301078 h 431"/>
                  <a:gd name="T46" fmla="*/ 465234 w 1384"/>
                  <a:gd name="T47" fmla="*/ 177357 h 431"/>
                  <a:gd name="T48" fmla="*/ 257591 w 1384"/>
                  <a:gd name="T49" fmla="*/ 184508 h 431"/>
                  <a:gd name="T50" fmla="*/ 264727 w 1384"/>
                  <a:gd name="T51" fmla="*/ 308229 h 431"/>
                  <a:gd name="T52" fmla="*/ 472370 w 1384"/>
                  <a:gd name="T53" fmla="*/ 301078 h 431"/>
                  <a:gd name="T54" fmla="*/ 729961 w 1384"/>
                  <a:gd name="T55" fmla="*/ 184508 h 431"/>
                  <a:gd name="T56" fmla="*/ 522318 w 1384"/>
                  <a:gd name="T57" fmla="*/ 177357 h 431"/>
                  <a:gd name="T58" fmla="*/ 515182 w 1384"/>
                  <a:gd name="T59" fmla="*/ 301078 h 431"/>
                  <a:gd name="T60" fmla="*/ 722825 w 1384"/>
                  <a:gd name="T61" fmla="*/ 308229 h 431"/>
                  <a:gd name="T62" fmla="*/ 987552 w 1384"/>
                  <a:gd name="T63" fmla="*/ 301078 h 431"/>
                  <a:gd name="T64" fmla="*/ 980417 w 1384"/>
                  <a:gd name="T65" fmla="*/ 177357 h 431"/>
                  <a:gd name="T66" fmla="*/ 772060 w 1384"/>
                  <a:gd name="T67" fmla="*/ 184508 h 431"/>
                  <a:gd name="T68" fmla="*/ 779196 w 1384"/>
                  <a:gd name="T69" fmla="*/ 308229 h 431"/>
                  <a:gd name="T70" fmla="*/ 987552 w 1384"/>
                  <a:gd name="T71" fmla="*/ 301078 h 43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384"/>
                  <a:gd name="T109" fmla="*/ 0 h 431"/>
                  <a:gd name="T110" fmla="*/ 1384 w 1384"/>
                  <a:gd name="T111" fmla="*/ 431 h 431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384" h="431">
                    <a:moveTo>
                      <a:pt x="292" y="183"/>
                    </a:moveTo>
                    <a:cubicBezTo>
                      <a:pt x="10" y="183"/>
                      <a:pt x="10" y="183"/>
                      <a:pt x="10" y="183"/>
                    </a:cubicBezTo>
                    <a:cubicBezTo>
                      <a:pt x="4" y="183"/>
                      <a:pt x="0" y="179"/>
                      <a:pt x="0" y="173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5"/>
                      <a:pt x="4" y="0"/>
                      <a:pt x="10" y="0"/>
                    </a:cubicBezTo>
                    <a:cubicBezTo>
                      <a:pt x="292" y="0"/>
                      <a:pt x="292" y="0"/>
                      <a:pt x="292" y="0"/>
                    </a:cubicBezTo>
                    <a:cubicBezTo>
                      <a:pt x="297" y="0"/>
                      <a:pt x="302" y="5"/>
                      <a:pt x="302" y="10"/>
                    </a:cubicBezTo>
                    <a:cubicBezTo>
                      <a:pt x="302" y="173"/>
                      <a:pt x="302" y="173"/>
                      <a:pt x="302" y="173"/>
                    </a:cubicBezTo>
                    <a:cubicBezTo>
                      <a:pt x="302" y="179"/>
                      <a:pt x="297" y="183"/>
                      <a:pt x="292" y="183"/>
                    </a:cubicBezTo>
                    <a:close/>
                    <a:moveTo>
                      <a:pt x="662" y="173"/>
                    </a:moveTo>
                    <a:cubicBezTo>
                      <a:pt x="662" y="10"/>
                      <a:pt x="662" y="10"/>
                      <a:pt x="662" y="10"/>
                    </a:cubicBezTo>
                    <a:cubicBezTo>
                      <a:pt x="662" y="5"/>
                      <a:pt x="658" y="0"/>
                      <a:pt x="652" y="0"/>
                    </a:cubicBezTo>
                    <a:cubicBezTo>
                      <a:pt x="371" y="0"/>
                      <a:pt x="371" y="0"/>
                      <a:pt x="371" y="0"/>
                    </a:cubicBezTo>
                    <a:cubicBezTo>
                      <a:pt x="365" y="0"/>
                      <a:pt x="361" y="5"/>
                      <a:pt x="361" y="10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1" y="179"/>
                      <a:pt x="365" y="183"/>
                      <a:pt x="371" y="183"/>
                    </a:cubicBezTo>
                    <a:cubicBezTo>
                      <a:pt x="652" y="183"/>
                      <a:pt x="652" y="183"/>
                      <a:pt x="652" y="183"/>
                    </a:cubicBezTo>
                    <a:cubicBezTo>
                      <a:pt x="658" y="183"/>
                      <a:pt x="662" y="179"/>
                      <a:pt x="662" y="173"/>
                    </a:cubicBezTo>
                    <a:close/>
                    <a:moveTo>
                      <a:pt x="1023" y="173"/>
                    </a:moveTo>
                    <a:cubicBezTo>
                      <a:pt x="1023" y="10"/>
                      <a:pt x="1023" y="10"/>
                      <a:pt x="1023" y="10"/>
                    </a:cubicBezTo>
                    <a:cubicBezTo>
                      <a:pt x="1023" y="5"/>
                      <a:pt x="1019" y="0"/>
                      <a:pt x="1013" y="0"/>
                    </a:cubicBezTo>
                    <a:cubicBezTo>
                      <a:pt x="732" y="0"/>
                      <a:pt x="732" y="0"/>
                      <a:pt x="732" y="0"/>
                    </a:cubicBezTo>
                    <a:cubicBezTo>
                      <a:pt x="726" y="0"/>
                      <a:pt x="722" y="5"/>
                      <a:pt x="722" y="10"/>
                    </a:cubicBezTo>
                    <a:cubicBezTo>
                      <a:pt x="722" y="173"/>
                      <a:pt x="722" y="173"/>
                      <a:pt x="722" y="173"/>
                    </a:cubicBezTo>
                    <a:cubicBezTo>
                      <a:pt x="722" y="179"/>
                      <a:pt x="726" y="183"/>
                      <a:pt x="732" y="183"/>
                    </a:cubicBezTo>
                    <a:cubicBezTo>
                      <a:pt x="1013" y="183"/>
                      <a:pt x="1013" y="183"/>
                      <a:pt x="1013" y="183"/>
                    </a:cubicBezTo>
                    <a:cubicBezTo>
                      <a:pt x="1019" y="183"/>
                      <a:pt x="1023" y="179"/>
                      <a:pt x="1023" y="173"/>
                    </a:cubicBezTo>
                    <a:close/>
                    <a:moveTo>
                      <a:pt x="1384" y="173"/>
                    </a:moveTo>
                    <a:cubicBezTo>
                      <a:pt x="1384" y="10"/>
                      <a:pt x="1384" y="10"/>
                      <a:pt x="1384" y="10"/>
                    </a:cubicBezTo>
                    <a:cubicBezTo>
                      <a:pt x="1384" y="5"/>
                      <a:pt x="1380" y="0"/>
                      <a:pt x="1374" y="0"/>
                    </a:cubicBezTo>
                    <a:cubicBezTo>
                      <a:pt x="1092" y="0"/>
                      <a:pt x="1092" y="0"/>
                      <a:pt x="1092" y="0"/>
                    </a:cubicBezTo>
                    <a:cubicBezTo>
                      <a:pt x="1087" y="0"/>
                      <a:pt x="1082" y="5"/>
                      <a:pt x="1082" y="10"/>
                    </a:cubicBezTo>
                    <a:cubicBezTo>
                      <a:pt x="1082" y="173"/>
                      <a:pt x="1082" y="173"/>
                      <a:pt x="1082" y="173"/>
                    </a:cubicBezTo>
                    <a:cubicBezTo>
                      <a:pt x="1082" y="179"/>
                      <a:pt x="1087" y="183"/>
                      <a:pt x="1092" y="183"/>
                    </a:cubicBezTo>
                    <a:cubicBezTo>
                      <a:pt x="1374" y="183"/>
                      <a:pt x="1374" y="183"/>
                      <a:pt x="1374" y="183"/>
                    </a:cubicBezTo>
                    <a:cubicBezTo>
                      <a:pt x="1380" y="183"/>
                      <a:pt x="1384" y="179"/>
                      <a:pt x="1384" y="173"/>
                    </a:cubicBezTo>
                    <a:close/>
                    <a:moveTo>
                      <a:pt x="302" y="421"/>
                    </a:moveTo>
                    <a:cubicBezTo>
                      <a:pt x="302" y="258"/>
                      <a:pt x="302" y="258"/>
                      <a:pt x="302" y="258"/>
                    </a:cubicBezTo>
                    <a:cubicBezTo>
                      <a:pt x="302" y="253"/>
                      <a:pt x="297" y="248"/>
                      <a:pt x="292" y="248"/>
                    </a:cubicBezTo>
                    <a:cubicBezTo>
                      <a:pt x="10" y="248"/>
                      <a:pt x="10" y="248"/>
                      <a:pt x="10" y="248"/>
                    </a:cubicBezTo>
                    <a:cubicBezTo>
                      <a:pt x="4" y="248"/>
                      <a:pt x="0" y="253"/>
                      <a:pt x="0" y="258"/>
                    </a:cubicBezTo>
                    <a:cubicBezTo>
                      <a:pt x="0" y="421"/>
                      <a:pt x="0" y="421"/>
                      <a:pt x="0" y="421"/>
                    </a:cubicBezTo>
                    <a:cubicBezTo>
                      <a:pt x="0" y="427"/>
                      <a:pt x="4" y="431"/>
                      <a:pt x="10" y="431"/>
                    </a:cubicBezTo>
                    <a:cubicBezTo>
                      <a:pt x="292" y="431"/>
                      <a:pt x="292" y="431"/>
                      <a:pt x="292" y="431"/>
                    </a:cubicBezTo>
                    <a:cubicBezTo>
                      <a:pt x="297" y="431"/>
                      <a:pt x="302" y="427"/>
                      <a:pt x="302" y="421"/>
                    </a:cubicBezTo>
                    <a:close/>
                    <a:moveTo>
                      <a:pt x="662" y="421"/>
                    </a:moveTo>
                    <a:cubicBezTo>
                      <a:pt x="662" y="258"/>
                      <a:pt x="662" y="258"/>
                      <a:pt x="662" y="258"/>
                    </a:cubicBezTo>
                    <a:cubicBezTo>
                      <a:pt x="662" y="253"/>
                      <a:pt x="658" y="248"/>
                      <a:pt x="652" y="248"/>
                    </a:cubicBezTo>
                    <a:cubicBezTo>
                      <a:pt x="371" y="248"/>
                      <a:pt x="371" y="248"/>
                      <a:pt x="371" y="248"/>
                    </a:cubicBezTo>
                    <a:cubicBezTo>
                      <a:pt x="365" y="248"/>
                      <a:pt x="361" y="253"/>
                      <a:pt x="361" y="258"/>
                    </a:cubicBezTo>
                    <a:cubicBezTo>
                      <a:pt x="361" y="421"/>
                      <a:pt x="361" y="421"/>
                      <a:pt x="361" y="421"/>
                    </a:cubicBezTo>
                    <a:cubicBezTo>
                      <a:pt x="361" y="427"/>
                      <a:pt x="365" y="431"/>
                      <a:pt x="371" y="431"/>
                    </a:cubicBezTo>
                    <a:cubicBezTo>
                      <a:pt x="652" y="431"/>
                      <a:pt x="652" y="431"/>
                      <a:pt x="652" y="431"/>
                    </a:cubicBezTo>
                    <a:cubicBezTo>
                      <a:pt x="658" y="431"/>
                      <a:pt x="662" y="427"/>
                      <a:pt x="662" y="421"/>
                    </a:cubicBezTo>
                    <a:close/>
                    <a:moveTo>
                      <a:pt x="1023" y="421"/>
                    </a:moveTo>
                    <a:cubicBezTo>
                      <a:pt x="1023" y="258"/>
                      <a:pt x="1023" y="258"/>
                      <a:pt x="1023" y="258"/>
                    </a:cubicBezTo>
                    <a:cubicBezTo>
                      <a:pt x="1023" y="253"/>
                      <a:pt x="1019" y="248"/>
                      <a:pt x="1013" y="248"/>
                    </a:cubicBezTo>
                    <a:cubicBezTo>
                      <a:pt x="732" y="248"/>
                      <a:pt x="732" y="248"/>
                      <a:pt x="732" y="248"/>
                    </a:cubicBezTo>
                    <a:cubicBezTo>
                      <a:pt x="726" y="248"/>
                      <a:pt x="722" y="253"/>
                      <a:pt x="722" y="258"/>
                    </a:cubicBezTo>
                    <a:cubicBezTo>
                      <a:pt x="722" y="421"/>
                      <a:pt x="722" y="421"/>
                      <a:pt x="722" y="421"/>
                    </a:cubicBezTo>
                    <a:cubicBezTo>
                      <a:pt x="722" y="427"/>
                      <a:pt x="726" y="431"/>
                      <a:pt x="732" y="431"/>
                    </a:cubicBezTo>
                    <a:cubicBezTo>
                      <a:pt x="1013" y="431"/>
                      <a:pt x="1013" y="431"/>
                      <a:pt x="1013" y="431"/>
                    </a:cubicBezTo>
                    <a:cubicBezTo>
                      <a:pt x="1019" y="431"/>
                      <a:pt x="1023" y="427"/>
                      <a:pt x="1023" y="421"/>
                    </a:cubicBezTo>
                    <a:close/>
                    <a:moveTo>
                      <a:pt x="1384" y="421"/>
                    </a:moveTo>
                    <a:cubicBezTo>
                      <a:pt x="1384" y="258"/>
                      <a:pt x="1384" y="258"/>
                      <a:pt x="1384" y="258"/>
                    </a:cubicBezTo>
                    <a:cubicBezTo>
                      <a:pt x="1384" y="253"/>
                      <a:pt x="1380" y="248"/>
                      <a:pt x="1374" y="248"/>
                    </a:cubicBezTo>
                    <a:cubicBezTo>
                      <a:pt x="1092" y="248"/>
                      <a:pt x="1092" y="248"/>
                      <a:pt x="1092" y="248"/>
                    </a:cubicBezTo>
                    <a:cubicBezTo>
                      <a:pt x="1087" y="248"/>
                      <a:pt x="1082" y="253"/>
                      <a:pt x="1082" y="258"/>
                    </a:cubicBezTo>
                    <a:cubicBezTo>
                      <a:pt x="1082" y="421"/>
                      <a:pt x="1082" y="421"/>
                      <a:pt x="1082" y="421"/>
                    </a:cubicBezTo>
                    <a:cubicBezTo>
                      <a:pt x="1082" y="427"/>
                      <a:pt x="1087" y="431"/>
                      <a:pt x="1092" y="431"/>
                    </a:cubicBezTo>
                    <a:cubicBezTo>
                      <a:pt x="1374" y="431"/>
                      <a:pt x="1374" y="431"/>
                      <a:pt x="1374" y="431"/>
                    </a:cubicBezTo>
                    <a:cubicBezTo>
                      <a:pt x="1380" y="431"/>
                      <a:pt x="1384" y="427"/>
                      <a:pt x="1384" y="421"/>
                    </a:cubicBezTo>
                    <a:close/>
                  </a:path>
                </a:pathLst>
              </a:custGeom>
              <a:solidFill>
                <a:srgbClr val="98A6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810" name="Freeform 16"/>
              <p:cNvSpPr>
                <a:spLocks noEditPoints="1"/>
              </p:cNvSpPr>
              <p:nvPr/>
            </p:nvSpPr>
            <p:spPr bwMode="auto">
              <a:xfrm>
                <a:off x="5407149" y="2775204"/>
                <a:ext cx="1379220" cy="1306068"/>
              </a:xfrm>
              <a:custGeom>
                <a:avLst/>
                <a:gdLst>
                  <a:gd name="T0" fmla="*/ 1204319 w 1932"/>
                  <a:gd name="T1" fmla="*/ 10717 h 1828"/>
                  <a:gd name="T2" fmla="*/ 1238585 w 1932"/>
                  <a:gd name="T3" fmla="*/ 419399 h 1828"/>
                  <a:gd name="T4" fmla="*/ 1227163 w 1932"/>
                  <a:gd name="T5" fmla="*/ 431546 h 1828"/>
                  <a:gd name="T6" fmla="*/ 1011571 w 1932"/>
                  <a:gd name="T7" fmla="*/ 431546 h 1828"/>
                  <a:gd name="T8" fmla="*/ 1000149 w 1932"/>
                  <a:gd name="T9" fmla="*/ 419399 h 1828"/>
                  <a:gd name="T10" fmla="*/ 1034415 w 1932"/>
                  <a:gd name="T11" fmla="*/ 10717 h 1828"/>
                  <a:gd name="T12" fmla="*/ 1045837 w 1932"/>
                  <a:gd name="T13" fmla="*/ 0 h 1828"/>
                  <a:gd name="T14" fmla="*/ 1192897 w 1932"/>
                  <a:gd name="T15" fmla="*/ 0 h 1828"/>
                  <a:gd name="T16" fmla="*/ 1204319 w 1932"/>
                  <a:gd name="T17" fmla="*/ 10717 h 1828"/>
                  <a:gd name="T18" fmla="*/ 1379220 w 1932"/>
                  <a:gd name="T19" fmla="*/ 1218902 h 1828"/>
                  <a:gd name="T20" fmla="*/ 1379220 w 1932"/>
                  <a:gd name="T21" fmla="*/ 1290349 h 1828"/>
                  <a:gd name="T22" fmla="*/ 1363515 w 1932"/>
                  <a:gd name="T23" fmla="*/ 1306068 h 1828"/>
                  <a:gd name="T24" fmla="*/ 15705 w 1932"/>
                  <a:gd name="T25" fmla="*/ 1306068 h 1828"/>
                  <a:gd name="T26" fmla="*/ 0 w 1932"/>
                  <a:gd name="T27" fmla="*/ 1290349 h 1828"/>
                  <a:gd name="T28" fmla="*/ 0 w 1932"/>
                  <a:gd name="T29" fmla="*/ 1218902 h 1828"/>
                  <a:gd name="T30" fmla="*/ 15705 w 1932"/>
                  <a:gd name="T31" fmla="*/ 1203183 h 1828"/>
                  <a:gd name="T32" fmla="*/ 69960 w 1932"/>
                  <a:gd name="T33" fmla="*/ 1203183 h 1828"/>
                  <a:gd name="T34" fmla="*/ 69960 w 1932"/>
                  <a:gd name="T35" fmla="*/ 1176747 h 1828"/>
                  <a:gd name="T36" fmla="*/ 85666 w 1932"/>
                  <a:gd name="T37" fmla="*/ 1161029 h 1828"/>
                  <a:gd name="T38" fmla="*/ 1293554 w 1932"/>
                  <a:gd name="T39" fmla="*/ 1161029 h 1828"/>
                  <a:gd name="T40" fmla="*/ 1309260 w 1932"/>
                  <a:gd name="T41" fmla="*/ 1176747 h 1828"/>
                  <a:gd name="T42" fmla="*/ 1309260 w 1932"/>
                  <a:gd name="T43" fmla="*/ 1203183 h 1828"/>
                  <a:gd name="T44" fmla="*/ 1363515 w 1932"/>
                  <a:gd name="T45" fmla="*/ 1203183 h 1828"/>
                  <a:gd name="T46" fmla="*/ 1379220 w 1932"/>
                  <a:gd name="T47" fmla="*/ 1218902 h 1828"/>
                  <a:gd name="T48" fmla="*/ 1293554 w 1932"/>
                  <a:gd name="T49" fmla="*/ 478701 h 1828"/>
                  <a:gd name="T50" fmla="*/ 1277849 w 1932"/>
                  <a:gd name="T51" fmla="*/ 462983 h 1828"/>
                  <a:gd name="T52" fmla="*/ 918052 w 1932"/>
                  <a:gd name="T53" fmla="*/ 462983 h 1828"/>
                  <a:gd name="T54" fmla="*/ 508998 w 1932"/>
                  <a:gd name="T55" fmla="*/ 327946 h 1828"/>
                  <a:gd name="T56" fmla="*/ 494720 w 1932"/>
                  <a:gd name="T57" fmla="*/ 330089 h 1828"/>
                  <a:gd name="T58" fmla="*/ 488295 w 1932"/>
                  <a:gd name="T59" fmla="*/ 342950 h 1828"/>
                  <a:gd name="T60" fmla="*/ 488295 w 1932"/>
                  <a:gd name="T61" fmla="*/ 455838 h 1828"/>
                  <a:gd name="T62" fmla="*/ 104941 w 1932"/>
                  <a:gd name="T63" fmla="*/ 327946 h 1828"/>
                  <a:gd name="T64" fmla="*/ 90663 w 1932"/>
                  <a:gd name="T65" fmla="*/ 330089 h 1828"/>
                  <a:gd name="T66" fmla="*/ 84238 w 1932"/>
                  <a:gd name="T67" fmla="*/ 342950 h 1828"/>
                  <a:gd name="T68" fmla="*/ 84238 w 1932"/>
                  <a:gd name="T69" fmla="*/ 1129592 h 1828"/>
                  <a:gd name="T70" fmla="*/ 115649 w 1932"/>
                  <a:gd name="T71" fmla="*/ 1129592 h 1828"/>
                  <a:gd name="T72" fmla="*/ 115649 w 1932"/>
                  <a:gd name="T73" fmla="*/ 364384 h 1828"/>
                  <a:gd name="T74" fmla="*/ 499004 w 1932"/>
                  <a:gd name="T75" fmla="*/ 492276 h 1828"/>
                  <a:gd name="T76" fmla="*/ 513281 w 1932"/>
                  <a:gd name="T77" fmla="*/ 490133 h 1828"/>
                  <a:gd name="T78" fmla="*/ 519706 w 1932"/>
                  <a:gd name="T79" fmla="*/ 477272 h 1828"/>
                  <a:gd name="T80" fmla="*/ 519706 w 1932"/>
                  <a:gd name="T81" fmla="*/ 364384 h 1828"/>
                  <a:gd name="T82" fmla="*/ 910200 w 1932"/>
                  <a:gd name="T83" fmla="*/ 493705 h 1828"/>
                  <a:gd name="T84" fmla="*/ 915197 w 1932"/>
                  <a:gd name="T85" fmla="*/ 494420 h 1828"/>
                  <a:gd name="T86" fmla="*/ 1262143 w 1932"/>
                  <a:gd name="T87" fmla="*/ 494420 h 1828"/>
                  <a:gd name="T88" fmla="*/ 1262143 w 1932"/>
                  <a:gd name="T89" fmla="*/ 1129592 h 1828"/>
                  <a:gd name="T90" fmla="*/ 1293554 w 1932"/>
                  <a:gd name="T91" fmla="*/ 1129592 h 1828"/>
                  <a:gd name="T92" fmla="*/ 1293554 w 1932"/>
                  <a:gd name="T93" fmla="*/ 478701 h 182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932"/>
                  <a:gd name="T142" fmla="*/ 0 h 1828"/>
                  <a:gd name="T143" fmla="*/ 1932 w 1932"/>
                  <a:gd name="T144" fmla="*/ 1828 h 182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932" h="1828">
                    <a:moveTo>
                      <a:pt x="1687" y="15"/>
                    </a:moveTo>
                    <a:cubicBezTo>
                      <a:pt x="1735" y="587"/>
                      <a:pt x="1735" y="587"/>
                      <a:pt x="1735" y="587"/>
                    </a:cubicBezTo>
                    <a:cubicBezTo>
                      <a:pt x="1736" y="596"/>
                      <a:pt x="1728" y="604"/>
                      <a:pt x="1719" y="604"/>
                    </a:cubicBezTo>
                    <a:cubicBezTo>
                      <a:pt x="1417" y="604"/>
                      <a:pt x="1417" y="604"/>
                      <a:pt x="1417" y="604"/>
                    </a:cubicBezTo>
                    <a:cubicBezTo>
                      <a:pt x="1407" y="604"/>
                      <a:pt x="1400" y="596"/>
                      <a:pt x="1401" y="587"/>
                    </a:cubicBezTo>
                    <a:cubicBezTo>
                      <a:pt x="1449" y="15"/>
                      <a:pt x="1449" y="15"/>
                      <a:pt x="1449" y="15"/>
                    </a:cubicBezTo>
                    <a:cubicBezTo>
                      <a:pt x="1450" y="6"/>
                      <a:pt x="1457" y="0"/>
                      <a:pt x="1465" y="0"/>
                    </a:cubicBezTo>
                    <a:cubicBezTo>
                      <a:pt x="1671" y="0"/>
                      <a:pt x="1671" y="0"/>
                      <a:pt x="1671" y="0"/>
                    </a:cubicBezTo>
                    <a:cubicBezTo>
                      <a:pt x="1679" y="0"/>
                      <a:pt x="1686" y="6"/>
                      <a:pt x="1687" y="15"/>
                    </a:cubicBezTo>
                    <a:close/>
                    <a:moveTo>
                      <a:pt x="1932" y="1706"/>
                    </a:moveTo>
                    <a:cubicBezTo>
                      <a:pt x="1932" y="1806"/>
                      <a:pt x="1932" y="1806"/>
                      <a:pt x="1932" y="1806"/>
                    </a:cubicBezTo>
                    <a:cubicBezTo>
                      <a:pt x="1932" y="1818"/>
                      <a:pt x="1923" y="1828"/>
                      <a:pt x="1910" y="1828"/>
                    </a:cubicBezTo>
                    <a:cubicBezTo>
                      <a:pt x="22" y="1828"/>
                      <a:pt x="22" y="1828"/>
                      <a:pt x="22" y="1828"/>
                    </a:cubicBezTo>
                    <a:cubicBezTo>
                      <a:pt x="9" y="1828"/>
                      <a:pt x="0" y="1818"/>
                      <a:pt x="0" y="1806"/>
                    </a:cubicBezTo>
                    <a:cubicBezTo>
                      <a:pt x="0" y="1706"/>
                      <a:pt x="0" y="1706"/>
                      <a:pt x="0" y="1706"/>
                    </a:cubicBezTo>
                    <a:cubicBezTo>
                      <a:pt x="0" y="1694"/>
                      <a:pt x="9" y="1684"/>
                      <a:pt x="22" y="1684"/>
                    </a:cubicBezTo>
                    <a:cubicBezTo>
                      <a:pt x="98" y="1684"/>
                      <a:pt x="98" y="1684"/>
                      <a:pt x="98" y="1684"/>
                    </a:cubicBezTo>
                    <a:cubicBezTo>
                      <a:pt x="98" y="1647"/>
                      <a:pt x="98" y="1647"/>
                      <a:pt x="98" y="1647"/>
                    </a:cubicBezTo>
                    <a:cubicBezTo>
                      <a:pt x="98" y="1635"/>
                      <a:pt x="108" y="1625"/>
                      <a:pt x="120" y="1625"/>
                    </a:cubicBezTo>
                    <a:cubicBezTo>
                      <a:pt x="1812" y="1625"/>
                      <a:pt x="1812" y="1625"/>
                      <a:pt x="1812" y="1625"/>
                    </a:cubicBezTo>
                    <a:cubicBezTo>
                      <a:pt x="1824" y="1625"/>
                      <a:pt x="1834" y="1635"/>
                      <a:pt x="1834" y="1647"/>
                    </a:cubicBezTo>
                    <a:cubicBezTo>
                      <a:pt x="1834" y="1684"/>
                      <a:pt x="1834" y="1684"/>
                      <a:pt x="1834" y="1684"/>
                    </a:cubicBezTo>
                    <a:cubicBezTo>
                      <a:pt x="1910" y="1684"/>
                      <a:pt x="1910" y="1684"/>
                      <a:pt x="1910" y="1684"/>
                    </a:cubicBezTo>
                    <a:cubicBezTo>
                      <a:pt x="1923" y="1684"/>
                      <a:pt x="1932" y="1694"/>
                      <a:pt x="1932" y="1706"/>
                    </a:cubicBezTo>
                    <a:close/>
                    <a:moveTo>
                      <a:pt x="1812" y="670"/>
                    </a:moveTo>
                    <a:cubicBezTo>
                      <a:pt x="1812" y="658"/>
                      <a:pt x="1802" y="648"/>
                      <a:pt x="1790" y="648"/>
                    </a:cubicBezTo>
                    <a:cubicBezTo>
                      <a:pt x="1286" y="648"/>
                      <a:pt x="1286" y="648"/>
                      <a:pt x="1286" y="648"/>
                    </a:cubicBezTo>
                    <a:cubicBezTo>
                      <a:pt x="713" y="459"/>
                      <a:pt x="713" y="459"/>
                      <a:pt x="713" y="459"/>
                    </a:cubicBezTo>
                    <a:cubicBezTo>
                      <a:pt x="706" y="457"/>
                      <a:pt x="699" y="458"/>
                      <a:pt x="693" y="462"/>
                    </a:cubicBezTo>
                    <a:cubicBezTo>
                      <a:pt x="687" y="466"/>
                      <a:pt x="684" y="473"/>
                      <a:pt x="684" y="480"/>
                    </a:cubicBezTo>
                    <a:cubicBezTo>
                      <a:pt x="684" y="638"/>
                      <a:pt x="684" y="638"/>
                      <a:pt x="684" y="638"/>
                    </a:cubicBezTo>
                    <a:cubicBezTo>
                      <a:pt x="147" y="459"/>
                      <a:pt x="147" y="459"/>
                      <a:pt x="147" y="459"/>
                    </a:cubicBezTo>
                    <a:cubicBezTo>
                      <a:pt x="140" y="457"/>
                      <a:pt x="133" y="458"/>
                      <a:pt x="127" y="462"/>
                    </a:cubicBezTo>
                    <a:cubicBezTo>
                      <a:pt x="121" y="466"/>
                      <a:pt x="118" y="473"/>
                      <a:pt x="118" y="480"/>
                    </a:cubicBezTo>
                    <a:cubicBezTo>
                      <a:pt x="118" y="1581"/>
                      <a:pt x="118" y="1581"/>
                      <a:pt x="118" y="1581"/>
                    </a:cubicBezTo>
                    <a:cubicBezTo>
                      <a:pt x="162" y="1581"/>
                      <a:pt x="162" y="1581"/>
                      <a:pt x="162" y="1581"/>
                    </a:cubicBezTo>
                    <a:cubicBezTo>
                      <a:pt x="162" y="510"/>
                      <a:pt x="162" y="510"/>
                      <a:pt x="162" y="510"/>
                    </a:cubicBezTo>
                    <a:cubicBezTo>
                      <a:pt x="699" y="689"/>
                      <a:pt x="699" y="689"/>
                      <a:pt x="699" y="689"/>
                    </a:cubicBezTo>
                    <a:cubicBezTo>
                      <a:pt x="706" y="691"/>
                      <a:pt x="713" y="690"/>
                      <a:pt x="719" y="686"/>
                    </a:cubicBezTo>
                    <a:cubicBezTo>
                      <a:pt x="725" y="682"/>
                      <a:pt x="728" y="675"/>
                      <a:pt x="728" y="668"/>
                    </a:cubicBezTo>
                    <a:cubicBezTo>
                      <a:pt x="728" y="510"/>
                      <a:pt x="728" y="510"/>
                      <a:pt x="728" y="510"/>
                    </a:cubicBezTo>
                    <a:cubicBezTo>
                      <a:pt x="1275" y="691"/>
                      <a:pt x="1275" y="691"/>
                      <a:pt x="1275" y="691"/>
                    </a:cubicBezTo>
                    <a:cubicBezTo>
                      <a:pt x="1277" y="692"/>
                      <a:pt x="1280" y="692"/>
                      <a:pt x="1282" y="692"/>
                    </a:cubicBezTo>
                    <a:cubicBezTo>
                      <a:pt x="1768" y="692"/>
                      <a:pt x="1768" y="692"/>
                      <a:pt x="1768" y="692"/>
                    </a:cubicBezTo>
                    <a:cubicBezTo>
                      <a:pt x="1768" y="1581"/>
                      <a:pt x="1768" y="1581"/>
                      <a:pt x="1768" y="1581"/>
                    </a:cubicBezTo>
                    <a:cubicBezTo>
                      <a:pt x="1812" y="1581"/>
                      <a:pt x="1812" y="1581"/>
                      <a:pt x="1812" y="1581"/>
                    </a:cubicBezTo>
                    <a:lnTo>
                      <a:pt x="1812" y="670"/>
                    </a:ln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69" name="TextBox 68"/>
          <p:cNvSpPr txBox="1"/>
          <p:nvPr/>
        </p:nvSpPr>
        <p:spPr>
          <a:xfrm>
            <a:off x="4249738" y="2438400"/>
            <a:ext cx="654050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000" dirty="0">
                <a:solidFill>
                  <a:srgbClr val="595959"/>
                </a:solidFill>
                <a:sym typeface="PT Sans Caption" panose="020B0603020203020204" pitchFamily="34" charset="0"/>
              </a:rPr>
              <a:t>Логистика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030788" y="2438400"/>
            <a:ext cx="541337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000" dirty="0">
                <a:solidFill>
                  <a:srgbClr val="595959"/>
                </a:solidFill>
                <a:sym typeface="PT Sans Caption" panose="020B0603020203020204" pitchFamily="34" charset="0"/>
              </a:rPr>
              <a:t>Магазин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846763" y="2111375"/>
            <a:ext cx="371475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000" dirty="0">
                <a:solidFill>
                  <a:srgbClr val="595959"/>
                </a:solidFill>
                <a:sym typeface="PT Sans Caption" panose="020B0603020203020204" pitchFamily="34" charset="0"/>
              </a:rPr>
              <a:t>Касса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6353175" y="1752600"/>
            <a:ext cx="830263" cy="15398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000" dirty="0">
                <a:solidFill>
                  <a:srgbClr val="595959"/>
                </a:solidFill>
                <a:sym typeface="PT Sans Caption" panose="020B0603020203020204" pitchFamily="34" charset="0"/>
              </a:rPr>
              <a:t>Потребитель</a:t>
            </a:r>
          </a:p>
        </p:txBody>
      </p:sp>
      <p:grpSp>
        <p:nvGrpSpPr>
          <p:cNvPr id="72735" name="bcgIcons_LargeTruck"/>
          <p:cNvGrpSpPr>
            <a:grpSpLocks noChangeAspect="1"/>
          </p:cNvGrpSpPr>
          <p:nvPr/>
        </p:nvGrpSpPr>
        <p:grpSpPr bwMode="auto">
          <a:xfrm>
            <a:off x="4348163" y="2873375"/>
            <a:ext cx="457200" cy="457200"/>
            <a:chOff x="1682" y="0"/>
            <a:chExt cx="4316" cy="4320"/>
          </a:xfrm>
        </p:grpSpPr>
        <p:sp>
          <p:nvSpPr>
            <p:cNvPr id="72804" name="AutoShape 19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805" name="Freeform 21"/>
            <p:cNvSpPr>
              <a:spLocks noEditPoints="1"/>
            </p:cNvSpPr>
            <p:nvPr/>
          </p:nvSpPr>
          <p:spPr bwMode="auto">
            <a:xfrm>
              <a:off x="2162" y="1588"/>
              <a:ext cx="3562" cy="1601"/>
            </a:xfrm>
            <a:custGeom>
              <a:avLst/>
              <a:gdLst>
                <a:gd name="T0" fmla="*/ 3562 w 1902"/>
                <a:gd name="T1" fmla="*/ 609 h 854"/>
                <a:gd name="T2" fmla="*/ 3562 w 1902"/>
                <a:gd name="T3" fmla="*/ 1209 h 854"/>
                <a:gd name="T4" fmla="*/ 3519 w 1902"/>
                <a:gd name="T5" fmla="*/ 1250 h 854"/>
                <a:gd name="T6" fmla="*/ 3260 w 1902"/>
                <a:gd name="T7" fmla="*/ 1250 h 854"/>
                <a:gd name="T8" fmla="*/ 3227 w 1902"/>
                <a:gd name="T9" fmla="*/ 1168 h 854"/>
                <a:gd name="T10" fmla="*/ 3480 w 1902"/>
                <a:gd name="T11" fmla="*/ 1168 h 854"/>
                <a:gd name="T12" fmla="*/ 3480 w 1902"/>
                <a:gd name="T13" fmla="*/ 634 h 854"/>
                <a:gd name="T14" fmla="*/ 3116 w 1902"/>
                <a:gd name="T15" fmla="*/ 82 h 854"/>
                <a:gd name="T16" fmla="*/ 2481 w 1902"/>
                <a:gd name="T17" fmla="*/ 82 h 854"/>
                <a:gd name="T18" fmla="*/ 2481 w 1902"/>
                <a:gd name="T19" fmla="*/ 1168 h 854"/>
                <a:gd name="T20" fmla="*/ 2631 w 1902"/>
                <a:gd name="T21" fmla="*/ 1168 h 854"/>
                <a:gd name="T22" fmla="*/ 2598 w 1902"/>
                <a:gd name="T23" fmla="*/ 1250 h 854"/>
                <a:gd name="T24" fmla="*/ 2440 w 1902"/>
                <a:gd name="T25" fmla="*/ 1250 h 854"/>
                <a:gd name="T26" fmla="*/ 2399 w 1902"/>
                <a:gd name="T27" fmla="*/ 1209 h 854"/>
                <a:gd name="T28" fmla="*/ 2399 w 1902"/>
                <a:gd name="T29" fmla="*/ 39 h 854"/>
                <a:gd name="T30" fmla="*/ 2440 w 1902"/>
                <a:gd name="T31" fmla="*/ 0 h 854"/>
                <a:gd name="T32" fmla="*/ 3161 w 1902"/>
                <a:gd name="T33" fmla="*/ 0 h 854"/>
                <a:gd name="T34" fmla="*/ 3562 w 1902"/>
                <a:gd name="T35" fmla="*/ 609 h 854"/>
                <a:gd name="T36" fmla="*/ 3193 w 1902"/>
                <a:gd name="T37" fmla="*/ 1337 h 854"/>
                <a:gd name="T38" fmla="*/ 2929 w 1902"/>
                <a:gd name="T39" fmla="*/ 1072 h 854"/>
                <a:gd name="T40" fmla="*/ 2665 w 1902"/>
                <a:gd name="T41" fmla="*/ 1337 h 854"/>
                <a:gd name="T42" fmla="*/ 2938 w 1902"/>
                <a:gd name="T43" fmla="*/ 1601 h 854"/>
                <a:gd name="T44" fmla="*/ 3193 w 1902"/>
                <a:gd name="T45" fmla="*/ 1337 h 854"/>
                <a:gd name="T46" fmla="*/ 3103 w 1902"/>
                <a:gd name="T47" fmla="*/ 1337 h 854"/>
                <a:gd name="T48" fmla="*/ 2929 w 1902"/>
                <a:gd name="T49" fmla="*/ 1511 h 854"/>
                <a:gd name="T50" fmla="*/ 2757 w 1902"/>
                <a:gd name="T51" fmla="*/ 1337 h 854"/>
                <a:gd name="T52" fmla="*/ 2929 w 1902"/>
                <a:gd name="T53" fmla="*/ 1162 h 854"/>
                <a:gd name="T54" fmla="*/ 3103 w 1902"/>
                <a:gd name="T55" fmla="*/ 1337 h 854"/>
                <a:gd name="T56" fmla="*/ 755 w 1902"/>
                <a:gd name="T57" fmla="*/ 1337 h 854"/>
                <a:gd name="T58" fmla="*/ 491 w 1902"/>
                <a:gd name="T59" fmla="*/ 1072 h 854"/>
                <a:gd name="T60" fmla="*/ 227 w 1902"/>
                <a:gd name="T61" fmla="*/ 1337 h 854"/>
                <a:gd name="T62" fmla="*/ 500 w 1902"/>
                <a:gd name="T63" fmla="*/ 1601 h 854"/>
                <a:gd name="T64" fmla="*/ 755 w 1902"/>
                <a:gd name="T65" fmla="*/ 1337 h 854"/>
                <a:gd name="T66" fmla="*/ 663 w 1902"/>
                <a:gd name="T67" fmla="*/ 1337 h 854"/>
                <a:gd name="T68" fmla="*/ 491 w 1902"/>
                <a:gd name="T69" fmla="*/ 1511 h 854"/>
                <a:gd name="T70" fmla="*/ 316 w 1902"/>
                <a:gd name="T71" fmla="*/ 1337 h 854"/>
                <a:gd name="T72" fmla="*/ 491 w 1902"/>
                <a:gd name="T73" fmla="*/ 1162 h 854"/>
                <a:gd name="T74" fmla="*/ 663 w 1902"/>
                <a:gd name="T75" fmla="*/ 1337 h 854"/>
                <a:gd name="T76" fmla="*/ 2298 w 1902"/>
                <a:gd name="T77" fmla="*/ 877 h 854"/>
                <a:gd name="T78" fmla="*/ 39 w 1902"/>
                <a:gd name="T79" fmla="*/ 877 h 854"/>
                <a:gd name="T80" fmla="*/ 0 w 1902"/>
                <a:gd name="T81" fmla="*/ 917 h 854"/>
                <a:gd name="T82" fmla="*/ 0 w 1902"/>
                <a:gd name="T83" fmla="*/ 1211 h 854"/>
                <a:gd name="T84" fmla="*/ 39 w 1902"/>
                <a:gd name="T85" fmla="*/ 1250 h 854"/>
                <a:gd name="T86" fmla="*/ 155 w 1902"/>
                <a:gd name="T87" fmla="*/ 1250 h 854"/>
                <a:gd name="T88" fmla="*/ 491 w 1902"/>
                <a:gd name="T89" fmla="*/ 990 h 854"/>
                <a:gd name="T90" fmla="*/ 826 w 1902"/>
                <a:gd name="T91" fmla="*/ 1250 h 854"/>
                <a:gd name="T92" fmla="*/ 2298 w 1902"/>
                <a:gd name="T93" fmla="*/ 1250 h 854"/>
                <a:gd name="T94" fmla="*/ 2305 w 1902"/>
                <a:gd name="T95" fmla="*/ 1250 h 854"/>
                <a:gd name="T96" fmla="*/ 2305 w 1902"/>
                <a:gd name="T97" fmla="*/ 877 h 854"/>
                <a:gd name="T98" fmla="*/ 2298 w 1902"/>
                <a:gd name="T99" fmla="*/ 877 h 85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902"/>
                <a:gd name="T151" fmla="*/ 0 h 854"/>
                <a:gd name="T152" fmla="*/ 1902 w 1902"/>
                <a:gd name="T153" fmla="*/ 854 h 85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902" h="854">
                  <a:moveTo>
                    <a:pt x="1902" y="325"/>
                  </a:moveTo>
                  <a:cubicBezTo>
                    <a:pt x="1902" y="645"/>
                    <a:pt x="1902" y="645"/>
                    <a:pt x="1902" y="645"/>
                  </a:cubicBezTo>
                  <a:cubicBezTo>
                    <a:pt x="1902" y="657"/>
                    <a:pt x="1892" y="667"/>
                    <a:pt x="1879" y="667"/>
                  </a:cubicBezTo>
                  <a:cubicBezTo>
                    <a:pt x="1741" y="667"/>
                    <a:pt x="1741" y="667"/>
                    <a:pt x="1741" y="667"/>
                  </a:cubicBezTo>
                  <a:cubicBezTo>
                    <a:pt x="1737" y="651"/>
                    <a:pt x="1731" y="637"/>
                    <a:pt x="1723" y="623"/>
                  </a:cubicBezTo>
                  <a:cubicBezTo>
                    <a:pt x="1858" y="623"/>
                    <a:pt x="1858" y="623"/>
                    <a:pt x="1858" y="623"/>
                  </a:cubicBezTo>
                  <a:cubicBezTo>
                    <a:pt x="1858" y="338"/>
                    <a:pt x="1858" y="338"/>
                    <a:pt x="1858" y="338"/>
                  </a:cubicBezTo>
                  <a:cubicBezTo>
                    <a:pt x="1664" y="44"/>
                    <a:pt x="1664" y="44"/>
                    <a:pt x="1664" y="44"/>
                  </a:cubicBezTo>
                  <a:cubicBezTo>
                    <a:pt x="1325" y="44"/>
                    <a:pt x="1325" y="44"/>
                    <a:pt x="1325" y="44"/>
                  </a:cubicBezTo>
                  <a:cubicBezTo>
                    <a:pt x="1325" y="623"/>
                    <a:pt x="1325" y="623"/>
                    <a:pt x="1325" y="623"/>
                  </a:cubicBezTo>
                  <a:cubicBezTo>
                    <a:pt x="1405" y="623"/>
                    <a:pt x="1405" y="623"/>
                    <a:pt x="1405" y="623"/>
                  </a:cubicBezTo>
                  <a:cubicBezTo>
                    <a:pt x="1398" y="637"/>
                    <a:pt x="1391" y="651"/>
                    <a:pt x="1387" y="667"/>
                  </a:cubicBezTo>
                  <a:cubicBezTo>
                    <a:pt x="1303" y="667"/>
                    <a:pt x="1303" y="667"/>
                    <a:pt x="1303" y="667"/>
                  </a:cubicBezTo>
                  <a:cubicBezTo>
                    <a:pt x="1291" y="667"/>
                    <a:pt x="1281" y="657"/>
                    <a:pt x="1281" y="645"/>
                  </a:cubicBezTo>
                  <a:cubicBezTo>
                    <a:pt x="1281" y="21"/>
                    <a:pt x="1281" y="21"/>
                    <a:pt x="1281" y="21"/>
                  </a:cubicBezTo>
                  <a:cubicBezTo>
                    <a:pt x="1281" y="9"/>
                    <a:pt x="1291" y="0"/>
                    <a:pt x="1303" y="0"/>
                  </a:cubicBezTo>
                  <a:cubicBezTo>
                    <a:pt x="1688" y="0"/>
                    <a:pt x="1688" y="0"/>
                    <a:pt x="1688" y="0"/>
                  </a:cubicBezTo>
                  <a:lnTo>
                    <a:pt x="1902" y="325"/>
                  </a:lnTo>
                  <a:close/>
                  <a:moveTo>
                    <a:pt x="1705" y="713"/>
                  </a:moveTo>
                  <a:cubicBezTo>
                    <a:pt x="1705" y="635"/>
                    <a:pt x="1642" y="572"/>
                    <a:pt x="1564" y="572"/>
                  </a:cubicBezTo>
                  <a:cubicBezTo>
                    <a:pt x="1486" y="572"/>
                    <a:pt x="1423" y="635"/>
                    <a:pt x="1423" y="713"/>
                  </a:cubicBezTo>
                  <a:cubicBezTo>
                    <a:pt x="1423" y="791"/>
                    <a:pt x="1491" y="854"/>
                    <a:pt x="1569" y="854"/>
                  </a:cubicBezTo>
                  <a:cubicBezTo>
                    <a:pt x="1647" y="854"/>
                    <a:pt x="1705" y="791"/>
                    <a:pt x="1705" y="713"/>
                  </a:cubicBezTo>
                  <a:close/>
                  <a:moveTo>
                    <a:pt x="1657" y="713"/>
                  </a:moveTo>
                  <a:cubicBezTo>
                    <a:pt x="1657" y="764"/>
                    <a:pt x="1615" y="806"/>
                    <a:pt x="1564" y="806"/>
                  </a:cubicBezTo>
                  <a:cubicBezTo>
                    <a:pt x="1513" y="806"/>
                    <a:pt x="1472" y="764"/>
                    <a:pt x="1472" y="713"/>
                  </a:cubicBezTo>
                  <a:cubicBezTo>
                    <a:pt x="1472" y="662"/>
                    <a:pt x="1513" y="620"/>
                    <a:pt x="1564" y="620"/>
                  </a:cubicBezTo>
                  <a:cubicBezTo>
                    <a:pt x="1615" y="620"/>
                    <a:pt x="1657" y="662"/>
                    <a:pt x="1657" y="713"/>
                  </a:cubicBezTo>
                  <a:close/>
                  <a:moveTo>
                    <a:pt x="403" y="713"/>
                  </a:moveTo>
                  <a:cubicBezTo>
                    <a:pt x="403" y="635"/>
                    <a:pt x="340" y="572"/>
                    <a:pt x="262" y="572"/>
                  </a:cubicBezTo>
                  <a:cubicBezTo>
                    <a:pt x="184" y="572"/>
                    <a:pt x="121" y="635"/>
                    <a:pt x="121" y="713"/>
                  </a:cubicBezTo>
                  <a:cubicBezTo>
                    <a:pt x="121" y="791"/>
                    <a:pt x="189" y="854"/>
                    <a:pt x="267" y="854"/>
                  </a:cubicBezTo>
                  <a:cubicBezTo>
                    <a:pt x="344" y="854"/>
                    <a:pt x="403" y="791"/>
                    <a:pt x="403" y="713"/>
                  </a:cubicBezTo>
                  <a:close/>
                  <a:moveTo>
                    <a:pt x="354" y="713"/>
                  </a:moveTo>
                  <a:cubicBezTo>
                    <a:pt x="354" y="764"/>
                    <a:pt x="313" y="806"/>
                    <a:pt x="262" y="806"/>
                  </a:cubicBezTo>
                  <a:cubicBezTo>
                    <a:pt x="211" y="806"/>
                    <a:pt x="169" y="764"/>
                    <a:pt x="169" y="713"/>
                  </a:cubicBezTo>
                  <a:cubicBezTo>
                    <a:pt x="169" y="662"/>
                    <a:pt x="211" y="620"/>
                    <a:pt x="262" y="620"/>
                  </a:cubicBezTo>
                  <a:cubicBezTo>
                    <a:pt x="313" y="620"/>
                    <a:pt x="354" y="662"/>
                    <a:pt x="354" y="713"/>
                  </a:cubicBezTo>
                  <a:close/>
                  <a:moveTo>
                    <a:pt x="1227" y="468"/>
                  </a:moveTo>
                  <a:cubicBezTo>
                    <a:pt x="21" y="468"/>
                    <a:pt x="21" y="468"/>
                    <a:pt x="21" y="468"/>
                  </a:cubicBezTo>
                  <a:cubicBezTo>
                    <a:pt x="9" y="468"/>
                    <a:pt x="0" y="477"/>
                    <a:pt x="0" y="489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8"/>
                    <a:pt x="9" y="667"/>
                    <a:pt x="21" y="667"/>
                  </a:cubicBezTo>
                  <a:cubicBezTo>
                    <a:pt x="83" y="667"/>
                    <a:pt x="83" y="667"/>
                    <a:pt x="83" y="667"/>
                  </a:cubicBezTo>
                  <a:cubicBezTo>
                    <a:pt x="103" y="587"/>
                    <a:pt x="176" y="528"/>
                    <a:pt x="262" y="528"/>
                  </a:cubicBezTo>
                  <a:cubicBezTo>
                    <a:pt x="348" y="528"/>
                    <a:pt x="421" y="587"/>
                    <a:pt x="441" y="667"/>
                  </a:cubicBezTo>
                  <a:cubicBezTo>
                    <a:pt x="1227" y="667"/>
                    <a:pt x="1227" y="667"/>
                    <a:pt x="1227" y="667"/>
                  </a:cubicBezTo>
                  <a:cubicBezTo>
                    <a:pt x="1228" y="667"/>
                    <a:pt x="1230" y="667"/>
                    <a:pt x="1231" y="667"/>
                  </a:cubicBezTo>
                  <a:cubicBezTo>
                    <a:pt x="1231" y="468"/>
                    <a:pt x="1231" y="468"/>
                    <a:pt x="1231" y="468"/>
                  </a:cubicBezTo>
                  <a:cubicBezTo>
                    <a:pt x="1230" y="468"/>
                    <a:pt x="1228" y="468"/>
                    <a:pt x="1227" y="468"/>
                  </a:cubicBezTo>
                  <a:close/>
                </a:path>
              </a:pathLst>
            </a:custGeom>
            <a:solidFill>
              <a:srgbClr val="59595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806" name="Freeform 22"/>
            <p:cNvSpPr>
              <a:spLocks noEditPoints="1"/>
            </p:cNvSpPr>
            <p:nvPr/>
          </p:nvSpPr>
          <p:spPr bwMode="auto">
            <a:xfrm>
              <a:off x="1963" y="1144"/>
              <a:ext cx="3501" cy="1878"/>
            </a:xfrm>
            <a:custGeom>
              <a:avLst/>
              <a:gdLst>
                <a:gd name="T0" fmla="*/ 3467 w 1869"/>
                <a:gd name="T1" fmla="*/ 1003 h 1002"/>
                <a:gd name="T2" fmla="*/ 2873 w 1869"/>
                <a:gd name="T3" fmla="*/ 1003 h 1002"/>
                <a:gd name="T4" fmla="*/ 2855 w 1869"/>
                <a:gd name="T5" fmla="*/ 986 h 1002"/>
                <a:gd name="T6" fmla="*/ 2855 w 1869"/>
                <a:gd name="T7" fmla="*/ 598 h 1002"/>
                <a:gd name="T8" fmla="*/ 2873 w 1869"/>
                <a:gd name="T9" fmla="*/ 581 h 1002"/>
                <a:gd name="T10" fmla="*/ 3254 w 1869"/>
                <a:gd name="T11" fmla="*/ 581 h 1002"/>
                <a:gd name="T12" fmla="*/ 3291 w 1869"/>
                <a:gd name="T13" fmla="*/ 615 h 1002"/>
                <a:gd name="T14" fmla="*/ 3499 w 1869"/>
                <a:gd name="T15" fmla="*/ 967 h 1002"/>
                <a:gd name="T16" fmla="*/ 3501 w 1869"/>
                <a:gd name="T17" fmla="*/ 976 h 1002"/>
                <a:gd name="T18" fmla="*/ 3467 w 1869"/>
                <a:gd name="T19" fmla="*/ 1003 h 1002"/>
                <a:gd name="T20" fmla="*/ 689 w 1869"/>
                <a:gd name="T21" fmla="*/ 1683 h 1002"/>
                <a:gd name="T22" fmla="*/ 592 w 1869"/>
                <a:gd name="T23" fmla="*/ 1781 h 1002"/>
                <a:gd name="T24" fmla="*/ 689 w 1869"/>
                <a:gd name="T25" fmla="*/ 1878 h 1002"/>
                <a:gd name="T26" fmla="*/ 787 w 1869"/>
                <a:gd name="T27" fmla="*/ 1781 h 1002"/>
                <a:gd name="T28" fmla="*/ 689 w 1869"/>
                <a:gd name="T29" fmla="*/ 1683 h 1002"/>
                <a:gd name="T30" fmla="*/ 3128 w 1869"/>
                <a:gd name="T31" fmla="*/ 1683 h 1002"/>
                <a:gd name="T32" fmla="*/ 3031 w 1869"/>
                <a:gd name="T33" fmla="*/ 1781 h 1002"/>
                <a:gd name="T34" fmla="*/ 3128 w 1869"/>
                <a:gd name="T35" fmla="*/ 1878 h 1002"/>
                <a:gd name="T36" fmla="*/ 3226 w 1869"/>
                <a:gd name="T37" fmla="*/ 1781 h 1002"/>
                <a:gd name="T38" fmla="*/ 3128 w 1869"/>
                <a:gd name="T39" fmla="*/ 1683 h 1002"/>
                <a:gd name="T40" fmla="*/ 2510 w 1869"/>
                <a:gd name="T41" fmla="*/ 41 h 1002"/>
                <a:gd name="T42" fmla="*/ 2469 w 1869"/>
                <a:gd name="T43" fmla="*/ 0 h 1002"/>
                <a:gd name="T44" fmla="*/ 41 w 1869"/>
                <a:gd name="T45" fmla="*/ 0 h 1002"/>
                <a:gd name="T46" fmla="*/ 0 w 1869"/>
                <a:gd name="T47" fmla="*/ 41 h 1002"/>
                <a:gd name="T48" fmla="*/ 0 w 1869"/>
                <a:gd name="T49" fmla="*/ 1198 h 1002"/>
                <a:gd name="T50" fmla="*/ 41 w 1869"/>
                <a:gd name="T51" fmla="*/ 1239 h 1002"/>
                <a:gd name="T52" fmla="*/ 2510 w 1869"/>
                <a:gd name="T53" fmla="*/ 1239 h 1002"/>
                <a:gd name="T54" fmla="*/ 2510 w 1869"/>
                <a:gd name="T55" fmla="*/ 41 h 100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869"/>
                <a:gd name="T85" fmla="*/ 0 h 1002"/>
                <a:gd name="T86" fmla="*/ 1869 w 1869"/>
                <a:gd name="T87" fmla="*/ 1002 h 100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869" h="1002">
                  <a:moveTo>
                    <a:pt x="1851" y="535"/>
                  </a:moveTo>
                  <a:cubicBezTo>
                    <a:pt x="1534" y="535"/>
                    <a:pt x="1534" y="535"/>
                    <a:pt x="1534" y="535"/>
                  </a:cubicBezTo>
                  <a:cubicBezTo>
                    <a:pt x="1529" y="535"/>
                    <a:pt x="1524" y="531"/>
                    <a:pt x="1524" y="526"/>
                  </a:cubicBezTo>
                  <a:cubicBezTo>
                    <a:pt x="1524" y="319"/>
                    <a:pt x="1524" y="319"/>
                    <a:pt x="1524" y="319"/>
                  </a:cubicBezTo>
                  <a:cubicBezTo>
                    <a:pt x="1524" y="314"/>
                    <a:pt x="1529" y="310"/>
                    <a:pt x="1534" y="310"/>
                  </a:cubicBezTo>
                  <a:cubicBezTo>
                    <a:pt x="1737" y="310"/>
                    <a:pt x="1737" y="310"/>
                    <a:pt x="1737" y="310"/>
                  </a:cubicBezTo>
                  <a:cubicBezTo>
                    <a:pt x="1747" y="310"/>
                    <a:pt x="1751" y="318"/>
                    <a:pt x="1757" y="328"/>
                  </a:cubicBezTo>
                  <a:cubicBezTo>
                    <a:pt x="1868" y="516"/>
                    <a:pt x="1868" y="516"/>
                    <a:pt x="1868" y="516"/>
                  </a:cubicBezTo>
                  <a:cubicBezTo>
                    <a:pt x="1869" y="517"/>
                    <a:pt x="1869" y="519"/>
                    <a:pt x="1869" y="521"/>
                  </a:cubicBezTo>
                  <a:cubicBezTo>
                    <a:pt x="1867" y="529"/>
                    <a:pt x="1860" y="535"/>
                    <a:pt x="1851" y="535"/>
                  </a:cubicBezTo>
                  <a:close/>
                  <a:moveTo>
                    <a:pt x="368" y="898"/>
                  </a:moveTo>
                  <a:cubicBezTo>
                    <a:pt x="339" y="898"/>
                    <a:pt x="316" y="921"/>
                    <a:pt x="316" y="950"/>
                  </a:cubicBezTo>
                  <a:cubicBezTo>
                    <a:pt x="316" y="979"/>
                    <a:pt x="339" y="1002"/>
                    <a:pt x="368" y="1002"/>
                  </a:cubicBezTo>
                  <a:cubicBezTo>
                    <a:pt x="397" y="1002"/>
                    <a:pt x="420" y="979"/>
                    <a:pt x="420" y="950"/>
                  </a:cubicBezTo>
                  <a:cubicBezTo>
                    <a:pt x="420" y="921"/>
                    <a:pt x="397" y="898"/>
                    <a:pt x="368" y="898"/>
                  </a:cubicBezTo>
                  <a:close/>
                  <a:moveTo>
                    <a:pt x="1670" y="898"/>
                  </a:moveTo>
                  <a:cubicBezTo>
                    <a:pt x="1641" y="898"/>
                    <a:pt x="1618" y="921"/>
                    <a:pt x="1618" y="950"/>
                  </a:cubicBezTo>
                  <a:cubicBezTo>
                    <a:pt x="1618" y="979"/>
                    <a:pt x="1641" y="1002"/>
                    <a:pt x="1670" y="1002"/>
                  </a:cubicBezTo>
                  <a:cubicBezTo>
                    <a:pt x="1699" y="1002"/>
                    <a:pt x="1722" y="979"/>
                    <a:pt x="1722" y="950"/>
                  </a:cubicBezTo>
                  <a:cubicBezTo>
                    <a:pt x="1722" y="921"/>
                    <a:pt x="1699" y="898"/>
                    <a:pt x="1670" y="898"/>
                  </a:cubicBezTo>
                  <a:close/>
                  <a:moveTo>
                    <a:pt x="1340" y="22"/>
                  </a:moveTo>
                  <a:cubicBezTo>
                    <a:pt x="1340" y="10"/>
                    <a:pt x="1330" y="0"/>
                    <a:pt x="1318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639"/>
                    <a:pt x="0" y="639"/>
                    <a:pt x="0" y="639"/>
                  </a:cubicBezTo>
                  <a:cubicBezTo>
                    <a:pt x="0" y="651"/>
                    <a:pt x="10" y="661"/>
                    <a:pt x="22" y="661"/>
                  </a:cubicBezTo>
                  <a:cubicBezTo>
                    <a:pt x="1340" y="661"/>
                    <a:pt x="1340" y="661"/>
                    <a:pt x="1340" y="661"/>
                  </a:cubicBezTo>
                  <a:lnTo>
                    <a:pt x="1340" y="22"/>
                  </a:ln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72736" name="Group 171"/>
          <p:cNvGrpSpPr>
            <a:grpSpLocks noChangeAspect="1"/>
          </p:cNvGrpSpPr>
          <p:nvPr/>
        </p:nvGrpSpPr>
        <p:grpSpPr bwMode="auto">
          <a:xfrm>
            <a:off x="5078413" y="2855913"/>
            <a:ext cx="457200" cy="457200"/>
            <a:chOff x="5273799" y="2606040"/>
            <a:chExt cx="1644396" cy="1645920"/>
          </a:xfrm>
        </p:grpSpPr>
        <p:sp>
          <p:nvSpPr>
            <p:cNvPr id="72800" name="AutoShape 28"/>
            <p:cNvSpPr>
              <a:spLocks noChangeAspect="1" noChangeArrowheads="1" noTextEdit="1"/>
            </p:cNvSpPr>
            <p:nvPr/>
          </p:nvSpPr>
          <p:spPr bwMode="auto">
            <a:xfrm>
              <a:off x="5273799" y="2606040"/>
              <a:ext cx="1644396" cy="16459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72801" name="Group 173"/>
            <p:cNvGrpSpPr>
              <a:grpSpLocks/>
            </p:cNvGrpSpPr>
            <p:nvPr/>
          </p:nvGrpSpPr>
          <p:grpSpPr bwMode="auto">
            <a:xfrm>
              <a:off x="5537070" y="2899029"/>
              <a:ext cx="1119378" cy="1182243"/>
              <a:chOff x="5537070" y="2899029"/>
              <a:chExt cx="1119378" cy="1182243"/>
            </a:xfrm>
          </p:grpSpPr>
          <p:sp>
            <p:nvSpPr>
              <p:cNvPr id="72802" name="Freeform 30"/>
              <p:cNvSpPr>
                <a:spLocks noEditPoints="1"/>
              </p:cNvSpPr>
              <p:nvPr/>
            </p:nvSpPr>
            <p:spPr bwMode="auto">
              <a:xfrm>
                <a:off x="5538594" y="2961894"/>
                <a:ext cx="1116330" cy="961263"/>
              </a:xfrm>
              <a:custGeom>
                <a:avLst/>
                <a:gdLst>
                  <a:gd name="T0" fmla="*/ 536752 w 1564"/>
                  <a:gd name="T1" fmla="*/ 961263 h 1346"/>
                  <a:gd name="T2" fmla="*/ 341894 w 1564"/>
                  <a:gd name="T3" fmla="*/ 961263 h 1346"/>
                  <a:gd name="T4" fmla="*/ 334756 w 1564"/>
                  <a:gd name="T5" fmla="*/ 954121 h 1346"/>
                  <a:gd name="T6" fmla="*/ 334756 w 1564"/>
                  <a:gd name="T7" fmla="*/ 611323 h 1346"/>
                  <a:gd name="T8" fmla="*/ 341894 w 1564"/>
                  <a:gd name="T9" fmla="*/ 604182 h 1346"/>
                  <a:gd name="T10" fmla="*/ 536752 w 1564"/>
                  <a:gd name="T11" fmla="*/ 604182 h 1346"/>
                  <a:gd name="T12" fmla="*/ 543890 w 1564"/>
                  <a:gd name="T13" fmla="*/ 611323 h 1346"/>
                  <a:gd name="T14" fmla="*/ 543890 w 1564"/>
                  <a:gd name="T15" fmla="*/ 954121 h 1346"/>
                  <a:gd name="T16" fmla="*/ 536752 w 1564"/>
                  <a:gd name="T17" fmla="*/ 961263 h 1346"/>
                  <a:gd name="T18" fmla="*/ 781574 w 1564"/>
                  <a:gd name="T19" fmla="*/ 954121 h 1346"/>
                  <a:gd name="T20" fmla="*/ 781574 w 1564"/>
                  <a:gd name="T21" fmla="*/ 611323 h 1346"/>
                  <a:gd name="T22" fmla="*/ 774436 w 1564"/>
                  <a:gd name="T23" fmla="*/ 604182 h 1346"/>
                  <a:gd name="T24" fmla="*/ 579578 w 1564"/>
                  <a:gd name="T25" fmla="*/ 604182 h 1346"/>
                  <a:gd name="T26" fmla="*/ 572440 w 1564"/>
                  <a:gd name="T27" fmla="*/ 611323 h 1346"/>
                  <a:gd name="T28" fmla="*/ 572440 w 1564"/>
                  <a:gd name="T29" fmla="*/ 954121 h 1346"/>
                  <a:gd name="T30" fmla="*/ 579578 w 1564"/>
                  <a:gd name="T31" fmla="*/ 961263 h 1346"/>
                  <a:gd name="T32" fmla="*/ 774436 w 1564"/>
                  <a:gd name="T33" fmla="*/ 961263 h 1346"/>
                  <a:gd name="T34" fmla="*/ 781574 w 1564"/>
                  <a:gd name="T35" fmla="*/ 954121 h 1346"/>
                  <a:gd name="T36" fmla="*/ 1109192 w 1564"/>
                  <a:gd name="T37" fmla="*/ 265669 h 1346"/>
                  <a:gd name="T38" fmla="*/ 987852 w 1564"/>
                  <a:gd name="T39" fmla="*/ 12855 h 1346"/>
                  <a:gd name="T40" fmla="*/ 970722 w 1564"/>
                  <a:gd name="T41" fmla="*/ 0 h 1346"/>
                  <a:gd name="T42" fmla="*/ 146322 w 1564"/>
                  <a:gd name="T43" fmla="*/ 0 h 1346"/>
                  <a:gd name="T44" fmla="*/ 128478 w 1564"/>
                  <a:gd name="T45" fmla="*/ 14283 h 1346"/>
                  <a:gd name="T46" fmla="*/ 7138 w 1564"/>
                  <a:gd name="T47" fmla="*/ 264240 h 1346"/>
                  <a:gd name="T48" fmla="*/ 24268 w 1564"/>
                  <a:gd name="T49" fmla="*/ 291378 h 1346"/>
                  <a:gd name="T50" fmla="*/ 1092062 w 1564"/>
                  <a:gd name="T51" fmla="*/ 291378 h 1346"/>
                  <a:gd name="T52" fmla="*/ 1109192 w 1564"/>
                  <a:gd name="T53" fmla="*/ 265669 h 134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564"/>
                  <a:gd name="T82" fmla="*/ 0 h 1346"/>
                  <a:gd name="T83" fmla="*/ 1564 w 1564"/>
                  <a:gd name="T84" fmla="*/ 1346 h 134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564" h="1346">
                    <a:moveTo>
                      <a:pt x="752" y="1346"/>
                    </a:moveTo>
                    <a:cubicBezTo>
                      <a:pt x="479" y="1346"/>
                      <a:pt x="479" y="1346"/>
                      <a:pt x="479" y="1346"/>
                    </a:cubicBezTo>
                    <a:cubicBezTo>
                      <a:pt x="474" y="1346"/>
                      <a:pt x="469" y="1342"/>
                      <a:pt x="469" y="1336"/>
                    </a:cubicBezTo>
                    <a:cubicBezTo>
                      <a:pt x="469" y="856"/>
                      <a:pt x="469" y="856"/>
                      <a:pt x="469" y="856"/>
                    </a:cubicBezTo>
                    <a:cubicBezTo>
                      <a:pt x="469" y="851"/>
                      <a:pt x="474" y="846"/>
                      <a:pt x="479" y="846"/>
                    </a:cubicBezTo>
                    <a:cubicBezTo>
                      <a:pt x="752" y="846"/>
                      <a:pt x="752" y="846"/>
                      <a:pt x="752" y="846"/>
                    </a:cubicBezTo>
                    <a:cubicBezTo>
                      <a:pt x="758" y="846"/>
                      <a:pt x="762" y="851"/>
                      <a:pt x="762" y="856"/>
                    </a:cubicBezTo>
                    <a:cubicBezTo>
                      <a:pt x="762" y="1336"/>
                      <a:pt x="762" y="1336"/>
                      <a:pt x="762" y="1336"/>
                    </a:cubicBezTo>
                    <a:cubicBezTo>
                      <a:pt x="762" y="1342"/>
                      <a:pt x="758" y="1346"/>
                      <a:pt x="752" y="1346"/>
                    </a:cubicBezTo>
                    <a:close/>
                    <a:moveTo>
                      <a:pt x="1095" y="1336"/>
                    </a:moveTo>
                    <a:cubicBezTo>
                      <a:pt x="1095" y="856"/>
                      <a:pt x="1095" y="856"/>
                      <a:pt x="1095" y="856"/>
                    </a:cubicBezTo>
                    <a:cubicBezTo>
                      <a:pt x="1095" y="851"/>
                      <a:pt x="1090" y="846"/>
                      <a:pt x="1085" y="846"/>
                    </a:cubicBezTo>
                    <a:cubicBezTo>
                      <a:pt x="812" y="846"/>
                      <a:pt x="812" y="846"/>
                      <a:pt x="812" y="846"/>
                    </a:cubicBezTo>
                    <a:cubicBezTo>
                      <a:pt x="806" y="846"/>
                      <a:pt x="802" y="851"/>
                      <a:pt x="802" y="856"/>
                    </a:cubicBezTo>
                    <a:cubicBezTo>
                      <a:pt x="802" y="1336"/>
                      <a:pt x="802" y="1336"/>
                      <a:pt x="802" y="1336"/>
                    </a:cubicBezTo>
                    <a:cubicBezTo>
                      <a:pt x="802" y="1342"/>
                      <a:pt x="806" y="1346"/>
                      <a:pt x="812" y="1346"/>
                    </a:cubicBezTo>
                    <a:cubicBezTo>
                      <a:pt x="1085" y="1346"/>
                      <a:pt x="1085" y="1346"/>
                      <a:pt x="1085" y="1346"/>
                    </a:cubicBezTo>
                    <a:cubicBezTo>
                      <a:pt x="1090" y="1346"/>
                      <a:pt x="1095" y="1342"/>
                      <a:pt x="1095" y="1336"/>
                    </a:cubicBezTo>
                    <a:close/>
                    <a:moveTo>
                      <a:pt x="1554" y="372"/>
                    </a:moveTo>
                    <a:cubicBezTo>
                      <a:pt x="1384" y="18"/>
                      <a:pt x="1384" y="18"/>
                      <a:pt x="1384" y="18"/>
                    </a:cubicBezTo>
                    <a:cubicBezTo>
                      <a:pt x="1379" y="9"/>
                      <a:pt x="1370" y="0"/>
                      <a:pt x="1360" y="0"/>
                    </a:cubicBezTo>
                    <a:cubicBezTo>
                      <a:pt x="205" y="0"/>
                      <a:pt x="205" y="0"/>
                      <a:pt x="205" y="0"/>
                    </a:cubicBezTo>
                    <a:cubicBezTo>
                      <a:pt x="194" y="0"/>
                      <a:pt x="185" y="11"/>
                      <a:pt x="180" y="20"/>
                    </a:cubicBezTo>
                    <a:cubicBezTo>
                      <a:pt x="10" y="370"/>
                      <a:pt x="10" y="370"/>
                      <a:pt x="10" y="370"/>
                    </a:cubicBezTo>
                    <a:cubicBezTo>
                      <a:pt x="0" y="388"/>
                      <a:pt x="14" y="408"/>
                      <a:pt x="34" y="408"/>
                    </a:cubicBezTo>
                    <a:cubicBezTo>
                      <a:pt x="1530" y="408"/>
                      <a:pt x="1530" y="408"/>
                      <a:pt x="1530" y="408"/>
                    </a:cubicBezTo>
                    <a:cubicBezTo>
                      <a:pt x="1551" y="408"/>
                      <a:pt x="1564" y="391"/>
                      <a:pt x="1554" y="372"/>
                    </a:cubicBezTo>
                    <a:close/>
                  </a:path>
                </a:pathLst>
              </a:custGeom>
              <a:solidFill>
                <a:srgbClr val="98A6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803" name="Freeform 31"/>
              <p:cNvSpPr>
                <a:spLocks noEditPoints="1"/>
              </p:cNvSpPr>
              <p:nvPr/>
            </p:nvSpPr>
            <p:spPr bwMode="auto">
              <a:xfrm>
                <a:off x="5537070" y="2899029"/>
                <a:ext cx="1119378" cy="1182243"/>
              </a:xfrm>
              <a:custGeom>
                <a:avLst/>
                <a:gdLst>
                  <a:gd name="T0" fmla="*/ 1087967 w 1568"/>
                  <a:gd name="T1" fmla="*/ 1092235 h 1655"/>
                  <a:gd name="T2" fmla="*/ 1041564 w 1568"/>
                  <a:gd name="T3" fmla="*/ 1092235 h 1655"/>
                  <a:gd name="T4" fmla="*/ 1041564 w 1568"/>
                  <a:gd name="T5" fmla="*/ 1071519 h 1655"/>
                  <a:gd name="T6" fmla="*/ 1026572 w 1568"/>
                  <a:gd name="T7" fmla="*/ 1055804 h 1655"/>
                  <a:gd name="T8" fmla="*/ 92806 w 1568"/>
                  <a:gd name="T9" fmla="*/ 1055804 h 1655"/>
                  <a:gd name="T10" fmla="*/ 77814 w 1568"/>
                  <a:gd name="T11" fmla="*/ 1071519 h 1655"/>
                  <a:gd name="T12" fmla="*/ 77814 w 1568"/>
                  <a:gd name="T13" fmla="*/ 1092235 h 1655"/>
                  <a:gd name="T14" fmla="*/ 31411 w 1568"/>
                  <a:gd name="T15" fmla="*/ 1092235 h 1655"/>
                  <a:gd name="T16" fmla="*/ 16419 w 1568"/>
                  <a:gd name="T17" fmla="*/ 1107951 h 1655"/>
                  <a:gd name="T18" fmla="*/ 16419 w 1568"/>
                  <a:gd name="T19" fmla="*/ 1167242 h 1655"/>
                  <a:gd name="T20" fmla="*/ 31411 w 1568"/>
                  <a:gd name="T21" fmla="*/ 1182243 h 1655"/>
                  <a:gd name="T22" fmla="*/ 1087967 w 1568"/>
                  <a:gd name="T23" fmla="*/ 1182243 h 1655"/>
                  <a:gd name="T24" fmla="*/ 1102959 w 1568"/>
                  <a:gd name="T25" fmla="*/ 1167242 h 1655"/>
                  <a:gd name="T26" fmla="*/ 1102959 w 1568"/>
                  <a:gd name="T27" fmla="*/ 1107951 h 1655"/>
                  <a:gd name="T28" fmla="*/ 1087967 w 1568"/>
                  <a:gd name="T29" fmla="*/ 1092235 h 1655"/>
                  <a:gd name="T30" fmla="*/ 1119378 w 1568"/>
                  <a:gd name="T31" fmla="*/ 401463 h 1655"/>
                  <a:gd name="T32" fmla="*/ 1119378 w 1568"/>
                  <a:gd name="T33" fmla="*/ 416464 h 1655"/>
                  <a:gd name="T34" fmla="*/ 1119378 w 1568"/>
                  <a:gd name="T35" fmla="*/ 416464 h 1655"/>
                  <a:gd name="T36" fmla="*/ 995161 w 1568"/>
                  <a:gd name="T37" fmla="*/ 555761 h 1655"/>
                  <a:gd name="T38" fmla="*/ 995161 w 1568"/>
                  <a:gd name="T39" fmla="*/ 1024373 h 1655"/>
                  <a:gd name="T40" fmla="*/ 963750 w 1568"/>
                  <a:gd name="T41" fmla="*/ 1024373 h 1655"/>
                  <a:gd name="T42" fmla="*/ 963750 w 1568"/>
                  <a:gd name="T43" fmla="*/ 555761 h 1655"/>
                  <a:gd name="T44" fmla="*/ 839534 w 1568"/>
                  <a:gd name="T45" fmla="*/ 420036 h 1655"/>
                  <a:gd name="T46" fmla="*/ 699611 w 1568"/>
                  <a:gd name="T47" fmla="*/ 556476 h 1655"/>
                  <a:gd name="T48" fmla="*/ 559689 w 1568"/>
                  <a:gd name="T49" fmla="*/ 420036 h 1655"/>
                  <a:gd name="T50" fmla="*/ 419767 w 1568"/>
                  <a:gd name="T51" fmla="*/ 556476 h 1655"/>
                  <a:gd name="T52" fmla="*/ 279845 w 1568"/>
                  <a:gd name="T53" fmla="*/ 420036 h 1655"/>
                  <a:gd name="T54" fmla="*/ 155628 w 1568"/>
                  <a:gd name="T55" fmla="*/ 555761 h 1655"/>
                  <a:gd name="T56" fmla="*/ 155628 w 1568"/>
                  <a:gd name="T57" fmla="*/ 1024373 h 1655"/>
                  <a:gd name="T58" fmla="*/ 124217 w 1568"/>
                  <a:gd name="T59" fmla="*/ 1024373 h 1655"/>
                  <a:gd name="T60" fmla="*/ 124217 w 1568"/>
                  <a:gd name="T61" fmla="*/ 555761 h 1655"/>
                  <a:gd name="T62" fmla="*/ 0 w 1568"/>
                  <a:gd name="T63" fmla="*/ 416464 h 1655"/>
                  <a:gd name="T64" fmla="*/ 0 w 1568"/>
                  <a:gd name="T65" fmla="*/ 416464 h 1655"/>
                  <a:gd name="T66" fmla="*/ 0 w 1568"/>
                  <a:gd name="T67" fmla="*/ 401463 h 1655"/>
                  <a:gd name="T68" fmla="*/ 15706 w 1568"/>
                  <a:gd name="T69" fmla="*/ 385747 h 1655"/>
                  <a:gd name="T70" fmla="*/ 1103672 w 1568"/>
                  <a:gd name="T71" fmla="*/ 385747 h 1655"/>
                  <a:gd name="T72" fmla="*/ 1119378 w 1568"/>
                  <a:gd name="T73" fmla="*/ 401463 h 1655"/>
                  <a:gd name="T74" fmla="*/ 966606 w 1568"/>
                  <a:gd name="T75" fmla="*/ 31431 h 1655"/>
                  <a:gd name="T76" fmla="*/ 152772 w 1568"/>
                  <a:gd name="T77" fmla="*/ 31431 h 1655"/>
                  <a:gd name="T78" fmla="*/ 137067 w 1568"/>
                  <a:gd name="T79" fmla="*/ 15716 h 1655"/>
                  <a:gd name="T80" fmla="*/ 152772 w 1568"/>
                  <a:gd name="T81" fmla="*/ 0 h 1655"/>
                  <a:gd name="T82" fmla="*/ 966606 w 1568"/>
                  <a:gd name="T83" fmla="*/ 0 h 1655"/>
                  <a:gd name="T84" fmla="*/ 982311 w 1568"/>
                  <a:gd name="T85" fmla="*/ 15716 h 1655"/>
                  <a:gd name="T86" fmla="*/ 966606 w 1568"/>
                  <a:gd name="T87" fmla="*/ 31431 h 1655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568"/>
                  <a:gd name="T133" fmla="*/ 0 h 1655"/>
                  <a:gd name="T134" fmla="*/ 1568 w 1568"/>
                  <a:gd name="T135" fmla="*/ 1655 h 1655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568" h="1655">
                    <a:moveTo>
                      <a:pt x="1524" y="1529"/>
                    </a:moveTo>
                    <a:cubicBezTo>
                      <a:pt x="1459" y="1529"/>
                      <a:pt x="1459" y="1529"/>
                      <a:pt x="1459" y="1529"/>
                    </a:cubicBezTo>
                    <a:cubicBezTo>
                      <a:pt x="1459" y="1500"/>
                      <a:pt x="1459" y="1500"/>
                      <a:pt x="1459" y="1500"/>
                    </a:cubicBezTo>
                    <a:cubicBezTo>
                      <a:pt x="1459" y="1488"/>
                      <a:pt x="1450" y="1478"/>
                      <a:pt x="1438" y="1478"/>
                    </a:cubicBezTo>
                    <a:cubicBezTo>
                      <a:pt x="130" y="1478"/>
                      <a:pt x="130" y="1478"/>
                      <a:pt x="130" y="1478"/>
                    </a:cubicBezTo>
                    <a:cubicBezTo>
                      <a:pt x="118" y="1478"/>
                      <a:pt x="109" y="1488"/>
                      <a:pt x="109" y="1500"/>
                    </a:cubicBezTo>
                    <a:cubicBezTo>
                      <a:pt x="109" y="1529"/>
                      <a:pt x="109" y="1529"/>
                      <a:pt x="109" y="1529"/>
                    </a:cubicBezTo>
                    <a:cubicBezTo>
                      <a:pt x="44" y="1529"/>
                      <a:pt x="44" y="1529"/>
                      <a:pt x="44" y="1529"/>
                    </a:cubicBezTo>
                    <a:cubicBezTo>
                      <a:pt x="32" y="1529"/>
                      <a:pt x="23" y="1539"/>
                      <a:pt x="23" y="1551"/>
                    </a:cubicBezTo>
                    <a:cubicBezTo>
                      <a:pt x="23" y="1634"/>
                      <a:pt x="23" y="1634"/>
                      <a:pt x="23" y="1634"/>
                    </a:cubicBezTo>
                    <a:cubicBezTo>
                      <a:pt x="23" y="1646"/>
                      <a:pt x="32" y="1655"/>
                      <a:pt x="44" y="1655"/>
                    </a:cubicBezTo>
                    <a:cubicBezTo>
                      <a:pt x="1524" y="1655"/>
                      <a:pt x="1524" y="1655"/>
                      <a:pt x="1524" y="1655"/>
                    </a:cubicBezTo>
                    <a:cubicBezTo>
                      <a:pt x="1536" y="1655"/>
                      <a:pt x="1545" y="1646"/>
                      <a:pt x="1545" y="1634"/>
                    </a:cubicBezTo>
                    <a:cubicBezTo>
                      <a:pt x="1545" y="1551"/>
                      <a:pt x="1545" y="1551"/>
                      <a:pt x="1545" y="1551"/>
                    </a:cubicBezTo>
                    <a:cubicBezTo>
                      <a:pt x="1545" y="1539"/>
                      <a:pt x="1536" y="1529"/>
                      <a:pt x="1524" y="1529"/>
                    </a:cubicBezTo>
                    <a:close/>
                    <a:moveTo>
                      <a:pt x="1568" y="562"/>
                    </a:move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583"/>
                      <a:pt x="1568" y="583"/>
                      <a:pt x="1568" y="583"/>
                    </a:cubicBezTo>
                    <a:cubicBezTo>
                      <a:pt x="1568" y="684"/>
                      <a:pt x="1491" y="767"/>
                      <a:pt x="1394" y="778"/>
                    </a:cubicBezTo>
                    <a:cubicBezTo>
                      <a:pt x="1394" y="1434"/>
                      <a:pt x="1394" y="1434"/>
                      <a:pt x="1394" y="1434"/>
                    </a:cubicBezTo>
                    <a:cubicBezTo>
                      <a:pt x="1350" y="1434"/>
                      <a:pt x="1350" y="1434"/>
                      <a:pt x="1350" y="1434"/>
                    </a:cubicBezTo>
                    <a:cubicBezTo>
                      <a:pt x="1350" y="778"/>
                      <a:pt x="1350" y="778"/>
                      <a:pt x="1350" y="778"/>
                    </a:cubicBezTo>
                    <a:cubicBezTo>
                      <a:pt x="1253" y="767"/>
                      <a:pt x="1178" y="687"/>
                      <a:pt x="1176" y="588"/>
                    </a:cubicBezTo>
                    <a:cubicBezTo>
                      <a:pt x="1173" y="694"/>
                      <a:pt x="1086" y="779"/>
                      <a:pt x="980" y="779"/>
                    </a:cubicBezTo>
                    <a:cubicBezTo>
                      <a:pt x="873" y="779"/>
                      <a:pt x="787" y="694"/>
                      <a:pt x="784" y="588"/>
                    </a:cubicBezTo>
                    <a:cubicBezTo>
                      <a:pt x="781" y="694"/>
                      <a:pt x="695" y="779"/>
                      <a:pt x="588" y="779"/>
                    </a:cubicBezTo>
                    <a:cubicBezTo>
                      <a:pt x="482" y="779"/>
                      <a:pt x="395" y="694"/>
                      <a:pt x="392" y="588"/>
                    </a:cubicBezTo>
                    <a:cubicBezTo>
                      <a:pt x="390" y="687"/>
                      <a:pt x="315" y="767"/>
                      <a:pt x="218" y="778"/>
                    </a:cubicBezTo>
                    <a:cubicBezTo>
                      <a:pt x="218" y="1434"/>
                      <a:pt x="218" y="1434"/>
                      <a:pt x="218" y="1434"/>
                    </a:cubicBezTo>
                    <a:cubicBezTo>
                      <a:pt x="174" y="1434"/>
                      <a:pt x="174" y="1434"/>
                      <a:pt x="174" y="1434"/>
                    </a:cubicBezTo>
                    <a:cubicBezTo>
                      <a:pt x="174" y="778"/>
                      <a:pt x="174" y="778"/>
                      <a:pt x="174" y="778"/>
                    </a:cubicBezTo>
                    <a:cubicBezTo>
                      <a:pt x="77" y="767"/>
                      <a:pt x="0" y="684"/>
                      <a:pt x="0" y="583"/>
                    </a:cubicBezTo>
                    <a:cubicBezTo>
                      <a:pt x="0" y="583"/>
                      <a:pt x="0" y="583"/>
                      <a:pt x="0" y="583"/>
                    </a:cubicBezTo>
                    <a:cubicBezTo>
                      <a:pt x="0" y="562"/>
                      <a:pt x="0" y="562"/>
                      <a:pt x="0" y="562"/>
                    </a:cubicBezTo>
                    <a:cubicBezTo>
                      <a:pt x="0" y="549"/>
                      <a:pt x="10" y="540"/>
                      <a:pt x="22" y="540"/>
                    </a:cubicBezTo>
                    <a:cubicBezTo>
                      <a:pt x="1546" y="540"/>
                      <a:pt x="1546" y="540"/>
                      <a:pt x="1546" y="540"/>
                    </a:cubicBezTo>
                    <a:cubicBezTo>
                      <a:pt x="1558" y="540"/>
                      <a:pt x="1568" y="549"/>
                      <a:pt x="1568" y="562"/>
                    </a:cubicBezTo>
                    <a:close/>
                    <a:moveTo>
                      <a:pt x="1354" y="44"/>
                    </a:moveTo>
                    <a:cubicBezTo>
                      <a:pt x="214" y="44"/>
                      <a:pt x="214" y="44"/>
                      <a:pt x="214" y="44"/>
                    </a:cubicBezTo>
                    <a:cubicBezTo>
                      <a:pt x="202" y="44"/>
                      <a:pt x="192" y="34"/>
                      <a:pt x="192" y="22"/>
                    </a:cubicBezTo>
                    <a:cubicBezTo>
                      <a:pt x="192" y="10"/>
                      <a:pt x="202" y="0"/>
                      <a:pt x="214" y="0"/>
                    </a:cubicBezTo>
                    <a:cubicBezTo>
                      <a:pt x="1354" y="0"/>
                      <a:pt x="1354" y="0"/>
                      <a:pt x="1354" y="0"/>
                    </a:cubicBezTo>
                    <a:cubicBezTo>
                      <a:pt x="1366" y="0"/>
                      <a:pt x="1376" y="10"/>
                      <a:pt x="1376" y="22"/>
                    </a:cubicBezTo>
                    <a:cubicBezTo>
                      <a:pt x="1376" y="34"/>
                      <a:pt x="1366" y="44"/>
                      <a:pt x="1354" y="44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72737" name="bcgIcons_CloudReplacesOnPremises"/>
          <p:cNvGrpSpPr>
            <a:grpSpLocks noChangeAspect="1"/>
          </p:cNvGrpSpPr>
          <p:nvPr/>
        </p:nvGrpSpPr>
        <p:grpSpPr bwMode="auto">
          <a:xfrm>
            <a:off x="7529513" y="2239963"/>
            <a:ext cx="457200" cy="457200"/>
            <a:chOff x="1682" y="0"/>
            <a:chExt cx="4316" cy="4320"/>
          </a:xfrm>
        </p:grpSpPr>
        <p:sp>
          <p:nvSpPr>
            <p:cNvPr id="72797" name="AutoShape 34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798" name="Freeform 36"/>
            <p:cNvSpPr>
              <a:spLocks noEditPoints="1"/>
            </p:cNvSpPr>
            <p:nvPr/>
          </p:nvSpPr>
          <p:spPr bwMode="auto">
            <a:xfrm>
              <a:off x="2482" y="233"/>
              <a:ext cx="2720" cy="3873"/>
            </a:xfrm>
            <a:custGeom>
              <a:avLst/>
              <a:gdLst>
                <a:gd name="T0" fmla="*/ 1045 w 1452"/>
                <a:gd name="T1" fmla="*/ 1085 h 2066"/>
                <a:gd name="T2" fmla="*/ 1356 w 1452"/>
                <a:gd name="T3" fmla="*/ 795 h 2066"/>
                <a:gd name="T4" fmla="*/ 1358 w 1452"/>
                <a:gd name="T5" fmla="*/ 795 h 2066"/>
                <a:gd name="T6" fmla="*/ 1673 w 1452"/>
                <a:gd name="T7" fmla="*/ 1080 h 2066"/>
                <a:gd name="T8" fmla="*/ 1583 w 1452"/>
                <a:gd name="T9" fmla="*/ 1172 h 2066"/>
                <a:gd name="T10" fmla="*/ 1422 w 1452"/>
                <a:gd name="T11" fmla="*/ 1951 h 2066"/>
                <a:gd name="T12" fmla="*/ 1294 w 1452"/>
                <a:gd name="T13" fmla="*/ 1012 h 2066"/>
                <a:gd name="T14" fmla="*/ 1090 w 1452"/>
                <a:gd name="T15" fmla="*/ 1192 h 2066"/>
                <a:gd name="T16" fmla="*/ 2113 w 1452"/>
                <a:gd name="T17" fmla="*/ 3832 h 2066"/>
                <a:gd name="T18" fmla="*/ 2072 w 1452"/>
                <a:gd name="T19" fmla="*/ 2036 h 2066"/>
                <a:gd name="T20" fmla="*/ 599 w 1452"/>
                <a:gd name="T21" fmla="*/ 2077 h 2066"/>
                <a:gd name="T22" fmla="*/ 641 w 1452"/>
                <a:gd name="T23" fmla="*/ 3873 h 2066"/>
                <a:gd name="T24" fmla="*/ 2113 w 1452"/>
                <a:gd name="T25" fmla="*/ 3832 h 2066"/>
                <a:gd name="T26" fmla="*/ 2031 w 1452"/>
                <a:gd name="T27" fmla="*/ 2118 h 2066"/>
                <a:gd name="T28" fmla="*/ 682 w 1452"/>
                <a:gd name="T29" fmla="*/ 3791 h 2066"/>
                <a:gd name="T30" fmla="*/ 2278 w 1452"/>
                <a:gd name="T31" fmla="*/ 634 h 2066"/>
                <a:gd name="T32" fmla="*/ 1892 w 1452"/>
                <a:gd name="T33" fmla="*/ 454 h 2066"/>
                <a:gd name="T34" fmla="*/ 1583 w 1452"/>
                <a:gd name="T35" fmla="*/ 285 h 2066"/>
                <a:gd name="T36" fmla="*/ 1426 w 1452"/>
                <a:gd name="T37" fmla="*/ 116 h 2066"/>
                <a:gd name="T38" fmla="*/ 667 w 1452"/>
                <a:gd name="T39" fmla="*/ 165 h 2066"/>
                <a:gd name="T40" fmla="*/ 298 w 1452"/>
                <a:gd name="T41" fmla="*/ 650 h 2066"/>
                <a:gd name="T42" fmla="*/ 262 w 1452"/>
                <a:gd name="T43" fmla="*/ 1301 h 2066"/>
                <a:gd name="T44" fmla="*/ 933 w 1452"/>
                <a:gd name="T45" fmla="*/ 1695 h 2066"/>
                <a:gd name="T46" fmla="*/ 1212 w 1452"/>
                <a:gd name="T47" fmla="*/ 1522 h 2066"/>
                <a:gd name="T48" fmla="*/ 543 w 1452"/>
                <a:gd name="T49" fmla="*/ 1415 h 2066"/>
                <a:gd name="T50" fmla="*/ 360 w 1452"/>
                <a:gd name="T51" fmla="*/ 705 h 2066"/>
                <a:gd name="T52" fmla="*/ 1075 w 1452"/>
                <a:gd name="T53" fmla="*/ 82 h 2066"/>
                <a:gd name="T54" fmla="*/ 1530 w 1452"/>
                <a:gd name="T55" fmla="*/ 371 h 2066"/>
                <a:gd name="T56" fmla="*/ 1845 w 1452"/>
                <a:gd name="T57" fmla="*/ 544 h 2066"/>
                <a:gd name="T58" fmla="*/ 2225 w 1452"/>
                <a:gd name="T59" fmla="*/ 703 h 2066"/>
                <a:gd name="T60" fmla="*/ 2121 w 1452"/>
                <a:gd name="T61" fmla="*/ 1443 h 2066"/>
                <a:gd name="T62" fmla="*/ 1866 w 1452"/>
                <a:gd name="T63" fmla="*/ 1520 h 2066"/>
                <a:gd name="T64" fmla="*/ 1504 w 1452"/>
                <a:gd name="T65" fmla="*/ 1558 h 2066"/>
                <a:gd name="T66" fmla="*/ 1718 w 1452"/>
                <a:gd name="T67" fmla="*/ 1577 h 2066"/>
                <a:gd name="T68" fmla="*/ 2115 w 1452"/>
                <a:gd name="T69" fmla="*/ 1526 h 2066"/>
                <a:gd name="T70" fmla="*/ 2583 w 1452"/>
                <a:gd name="T71" fmla="*/ 1067 h 2066"/>
                <a:gd name="T72" fmla="*/ 521 w 1452"/>
                <a:gd name="T73" fmla="*/ 3543 h 2066"/>
                <a:gd name="T74" fmla="*/ 82 w 1452"/>
                <a:gd name="T75" fmla="*/ 2240 h 2066"/>
                <a:gd name="T76" fmla="*/ 521 w 1452"/>
                <a:gd name="T77" fmla="*/ 2158 h 2066"/>
                <a:gd name="T78" fmla="*/ 0 w 1452"/>
                <a:gd name="T79" fmla="*/ 2199 h 2066"/>
                <a:gd name="T80" fmla="*/ 41 w 1452"/>
                <a:gd name="T81" fmla="*/ 3626 h 2066"/>
                <a:gd name="T82" fmla="*/ 521 w 1452"/>
                <a:gd name="T83" fmla="*/ 3543 h 2066"/>
                <a:gd name="T84" fmla="*/ 2195 w 1452"/>
                <a:gd name="T85" fmla="*/ 2158 h 2066"/>
                <a:gd name="T86" fmla="*/ 2638 w 1452"/>
                <a:gd name="T87" fmla="*/ 2240 h 2066"/>
                <a:gd name="T88" fmla="*/ 2195 w 1452"/>
                <a:gd name="T89" fmla="*/ 3543 h 2066"/>
                <a:gd name="T90" fmla="*/ 2679 w 1452"/>
                <a:gd name="T91" fmla="*/ 3626 h 2066"/>
                <a:gd name="T92" fmla="*/ 2720 w 1452"/>
                <a:gd name="T93" fmla="*/ 2199 h 206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452"/>
                <a:gd name="T142" fmla="*/ 0 h 2066"/>
                <a:gd name="T143" fmla="*/ 1452 w 1452"/>
                <a:gd name="T144" fmla="*/ 2066 h 206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452" h="2066">
                  <a:moveTo>
                    <a:pt x="558" y="627"/>
                  </a:moveTo>
                  <a:cubicBezTo>
                    <a:pt x="544" y="614"/>
                    <a:pt x="544" y="592"/>
                    <a:pt x="558" y="579"/>
                  </a:cubicBezTo>
                  <a:cubicBezTo>
                    <a:pt x="700" y="434"/>
                    <a:pt x="700" y="434"/>
                    <a:pt x="700" y="434"/>
                  </a:cubicBezTo>
                  <a:cubicBezTo>
                    <a:pt x="706" y="428"/>
                    <a:pt x="715" y="424"/>
                    <a:pt x="724" y="424"/>
                  </a:cubicBezTo>
                  <a:cubicBezTo>
                    <a:pt x="724" y="424"/>
                    <a:pt x="724" y="424"/>
                    <a:pt x="725" y="424"/>
                  </a:cubicBezTo>
                  <a:cubicBezTo>
                    <a:pt x="725" y="424"/>
                    <a:pt x="725" y="424"/>
                    <a:pt x="725" y="424"/>
                  </a:cubicBezTo>
                  <a:cubicBezTo>
                    <a:pt x="737" y="424"/>
                    <a:pt x="747" y="430"/>
                    <a:pt x="753" y="439"/>
                  </a:cubicBezTo>
                  <a:cubicBezTo>
                    <a:pt x="893" y="576"/>
                    <a:pt x="893" y="576"/>
                    <a:pt x="893" y="576"/>
                  </a:cubicBezTo>
                  <a:cubicBezTo>
                    <a:pt x="906" y="590"/>
                    <a:pt x="906" y="611"/>
                    <a:pt x="893" y="624"/>
                  </a:cubicBezTo>
                  <a:cubicBezTo>
                    <a:pt x="880" y="638"/>
                    <a:pt x="858" y="638"/>
                    <a:pt x="845" y="625"/>
                  </a:cubicBezTo>
                  <a:cubicBezTo>
                    <a:pt x="759" y="540"/>
                    <a:pt x="759" y="540"/>
                    <a:pt x="759" y="540"/>
                  </a:cubicBezTo>
                  <a:cubicBezTo>
                    <a:pt x="759" y="1041"/>
                    <a:pt x="759" y="1041"/>
                    <a:pt x="759" y="1041"/>
                  </a:cubicBezTo>
                  <a:cubicBezTo>
                    <a:pt x="691" y="1041"/>
                    <a:pt x="691" y="1041"/>
                    <a:pt x="691" y="1041"/>
                  </a:cubicBezTo>
                  <a:cubicBezTo>
                    <a:pt x="691" y="540"/>
                    <a:pt x="691" y="540"/>
                    <a:pt x="691" y="540"/>
                  </a:cubicBezTo>
                  <a:cubicBezTo>
                    <a:pt x="606" y="626"/>
                    <a:pt x="606" y="626"/>
                    <a:pt x="606" y="626"/>
                  </a:cubicBezTo>
                  <a:cubicBezTo>
                    <a:pt x="599" y="633"/>
                    <a:pt x="591" y="636"/>
                    <a:pt x="582" y="636"/>
                  </a:cubicBezTo>
                  <a:cubicBezTo>
                    <a:pt x="573" y="636"/>
                    <a:pt x="564" y="633"/>
                    <a:pt x="558" y="627"/>
                  </a:cubicBezTo>
                  <a:close/>
                  <a:moveTo>
                    <a:pt x="1128" y="2044"/>
                  </a:moveTo>
                  <a:cubicBezTo>
                    <a:pt x="1128" y="1108"/>
                    <a:pt x="1128" y="1108"/>
                    <a:pt x="1128" y="1108"/>
                  </a:cubicBezTo>
                  <a:cubicBezTo>
                    <a:pt x="1128" y="1096"/>
                    <a:pt x="1118" y="1086"/>
                    <a:pt x="1106" y="1086"/>
                  </a:cubicBezTo>
                  <a:cubicBezTo>
                    <a:pt x="342" y="1086"/>
                    <a:pt x="342" y="1086"/>
                    <a:pt x="342" y="1086"/>
                  </a:cubicBezTo>
                  <a:cubicBezTo>
                    <a:pt x="330" y="1086"/>
                    <a:pt x="320" y="1096"/>
                    <a:pt x="320" y="1108"/>
                  </a:cubicBezTo>
                  <a:cubicBezTo>
                    <a:pt x="320" y="2044"/>
                    <a:pt x="320" y="2044"/>
                    <a:pt x="320" y="2044"/>
                  </a:cubicBezTo>
                  <a:cubicBezTo>
                    <a:pt x="320" y="2056"/>
                    <a:pt x="330" y="2066"/>
                    <a:pt x="342" y="2066"/>
                  </a:cubicBezTo>
                  <a:cubicBezTo>
                    <a:pt x="1106" y="2066"/>
                    <a:pt x="1106" y="2066"/>
                    <a:pt x="1106" y="2066"/>
                  </a:cubicBezTo>
                  <a:cubicBezTo>
                    <a:pt x="1118" y="2066"/>
                    <a:pt x="1128" y="2056"/>
                    <a:pt x="1128" y="2044"/>
                  </a:cubicBezTo>
                  <a:close/>
                  <a:moveTo>
                    <a:pt x="364" y="1130"/>
                  </a:moveTo>
                  <a:cubicBezTo>
                    <a:pt x="1084" y="1130"/>
                    <a:pt x="1084" y="1130"/>
                    <a:pt x="1084" y="1130"/>
                  </a:cubicBezTo>
                  <a:cubicBezTo>
                    <a:pt x="1084" y="2022"/>
                    <a:pt x="1084" y="2022"/>
                    <a:pt x="1084" y="2022"/>
                  </a:cubicBezTo>
                  <a:cubicBezTo>
                    <a:pt x="364" y="2022"/>
                    <a:pt x="364" y="2022"/>
                    <a:pt x="364" y="2022"/>
                  </a:cubicBezTo>
                  <a:lnTo>
                    <a:pt x="364" y="1130"/>
                  </a:lnTo>
                  <a:close/>
                  <a:moveTo>
                    <a:pt x="1216" y="338"/>
                  </a:moveTo>
                  <a:cubicBezTo>
                    <a:pt x="1172" y="277"/>
                    <a:pt x="1103" y="241"/>
                    <a:pt x="1026" y="241"/>
                  </a:cubicBezTo>
                  <a:cubicBezTo>
                    <a:pt x="1021" y="241"/>
                    <a:pt x="1015" y="242"/>
                    <a:pt x="1010" y="242"/>
                  </a:cubicBezTo>
                  <a:cubicBezTo>
                    <a:pt x="996" y="220"/>
                    <a:pt x="977" y="201"/>
                    <a:pt x="955" y="186"/>
                  </a:cubicBezTo>
                  <a:cubicBezTo>
                    <a:pt x="923" y="163"/>
                    <a:pt x="885" y="152"/>
                    <a:pt x="845" y="152"/>
                  </a:cubicBezTo>
                  <a:cubicBezTo>
                    <a:pt x="844" y="152"/>
                    <a:pt x="843" y="152"/>
                    <a:pt x="842" y="152"/>
                  </a:cubicBezTo>
                  <a:cubicBezTo>
                    <a:pt x="821" y="117"/>
                    <a:pt x="794" y="86"/>
                    <a:pt x="761" y="62"/>
                  </a:cubicBezTo>
                  <a:cubicBezTo>
                    <a:pt x="707" y="21"/>
                    <a:pt x="642" y="0"/>
                    <a:pt x="574" y="0"/>
                  </a:cubicBezTo>
                  <a:cubicBezTo>
                    <a:pt x="492" y="0"/>
                    <a:pt x="414" y="31"/>
                    <a:pt x="356" y="88"/>
                  </a:cubicBezTo>
                  <a:cubicBezTo>
                    <a:pt x="305" y="138"/>
                    <a:pt x="273" y="202"/>
                    <a:pt x="265" y="272"/>
                  </a:cubicBezTo>
                  <a:cubicBezTo>
                    <a:pt x="224" y="288"/>
                    <a:pt x="188" y="314"/>
                    <a:pt x="159" y="347"/>
                  </a:cubicBezTo>
                  <a:cubicBezTo>
                    <a:pt x="114" y="398"/>
                    <a:pt x="89" y="464"/>
                    <a:pt x="89" y="532"/>
                  </a:cubicBezTo>
                  <a:cubicBezTo>
                    <a:pt x="89" y="590"/>
                    <a:pt x="107" y="646"/>
                    <a:pt x="140" y="694"/>
                  </a:cubicBezTo>
                  <a:cubicBezTo>
                    <a:pt x="171" y="737"/>
                    <a:pt x="213" y="771"/>
                    <a:pt x="262" y="792"/>
                  </a:cubicBezTo>
                  <a:cubicBezTo>
                    <a:pt x="320" y="862"/>
                    <a:pt x="407" y="904"/>
                    <a:pt x="498" y="904"/>
                  </a:cubicBezTo>
                  <a:cubicBezTo>
                    <a:pt x="551" y="904"/>
                    <a:pt x="602" y="890"/>
                    <a:pt x="647" y="864"/>
                  </a:cubicBezTo>
                  <a:cubicBezTo>
                    <a:pt x="647" y="812"/>
                    <a:pt x="647" y="812"/>
                    <a:pt x="647" y="812"/>
                  </a:cubicBezTo>
                  <a:cubicBezTo>
                    <a:pt x="604" y="843"/>
                    <a:pt x="552" y="860"/>
                    <a:pt x="498" y="860"/>
                  </a:cubicBezTo>
                  <a:cubicBezTo>
                    <a:pt x="415" y="860"/>
                    <a:pt x="338" y="821"/>
                    <a:pt x="290" y="755"/>
                  </a:cubicBezTo>
                  <a:cubicBezTo>
                    <a:pt x="196" y="721"/>
                    <a:pt x="133" y="633"/>
                    <a:pt x="133" y="532"/>
                  </a:cubicBezTo>
                  <a:cubicBezTo>
                    <a:pt x="133" y="474"/>
                    <a:pt x="154" y="419"/>
                    <a:pt x="192" y="376"/>
                  </a:cubicBezTo>
                  <a:cubicBezTo>
                    <a:pt x="223" y="341"/>
                    <a:pt x="262" y="316"/>
                    <a:pt x="307" y="304"/>
                  </a:cubicBezTo>
                  <a:cubicBezTo>
                    <a:pt x="309" y="160"/>
                    <a:pt x="428" y="44"/>
                    <a:pt x="574" y="44"/>
                  </a:cubicBezTo>
                  <a:cubicBezTo>
                    <a:pt x="632" y="44"/>
                    <a:pt x="688" y="62"/>
                    <a:pt x="735" y="97"/>
                  </a:cubicBezTo>
                  <a:cubicBezTo>
                    <a:pt x="770" y="124"/>
                    <a:pt x="799" y="159"/>
                    <a:pt x="817" y="198"/>
                  </a:cubicBezTo>
                  <a:cubicBezTo>
                    <a:pt x="827" y="196"/>
                    <a:pt x="836" y="196"/>
                    <a:pt x="845" y="196"/>
                  </a:cubicBezTo>
                  <a:cubicBezTo>
                    <a:pt x="908" y="196"/>
                    <a:pt x="963" y="235"/>
                    <a:pt x="985" y="290"/>
                  </a:cubicBezTo>
                  <a:cubicBezTo>
                    <a:pt x="999" y="287"/>
                    <a:pt x="1013" y="285"/>
                    <a:pt x="1026" y="285"/>
                  </a:cubicBezTo>
                  <a:cubicBezTo>
                    <a:pt x="1093" y="285"/>
                    <a:pt x="1154" y="319"/>
                    <a:pt x="1188" y="375"/>
                  </a:cubicBezTo>
                  <a:cubicBezTo>
                    <a:pt x="1274" y="399"/>
                    <a:pt x="1335" y="478"/>
                    <a:pt x="1335" y="569"/>
                  </a:cubicBezTo>
                  <a:cubicBezTo>
                    <a:pt x="1335" y="680"/>
                    <a:pt x="1244" y="770"/>
                    <a:pt x="1132" y="770"/>
                  </a:cubicBezTo>
                  <a:cubicBezTo>
                    <a:pt x="1114" y="770"/>
                    <a:pt x="1114" y="770"/>
                    <a:pt x="1114" y="770"/>
                  </a:cubicBezTo>
                  <a:cubicBezTo>
                    <a:pt x="1080" y="796"/>
                    <a:pt x="1039" y="811"/>
                    <a:pt x="996" y="811"/>
                  </a:cubicBezTo>
                  <a:cubicBezTo>
                    <a:pt x="967" y="811"/>
                    <a:pt x="938" y="804"/>
                    <a:pt x="912" y="792"/>
                  </a:cubicBezTo>
                  <a:cubicBezTo>
                    <a:pt x="880" y="815"/>
                    <a:pt x="843" y="829"/>
                    <a:pt x="803" y="831"/>
                  </a:cubicBezTo>
                  <a:cubicBezTo>
                    <a:pt x="803" y="875"/>
                    <a:pt x="803" y="875"/>
                    <a:pt x="803" y="875"/>
                  </a:cubicBezTo>
                  <a:cubicBezTo>
                    <a:pt x="843" y="873"/>
                    <a:pt x="882" y="862"/>
                    <a:pt x="917" y="841"/>
                  </a:cubicBezTo>
                  <a:cubicBezTo>
                    <a:pt x="942" y="850"/>
                    <a:pt x="968" y="855"/>
                    <a:pt x="996" y="855"/>
                  </a:cubicBezTo>
                  <a:cubicBezTo>
                    <a:pt x="1043" y="855"/>
                    <a:pt x="1089" y="840"/>
                    <a:pt x="1129" y="814"/>
                  </a:cubicBezTo>
                  <a:cubicBezTo>
                    <a:pt x="1132" y="814"/>
                    <a:pt x="1132" y="814"/>
                    <a:pt x="1132" y="814"/>
                  </a:cubicBezTo>
                  <a:cubicBezTo>
                    <a:pt x="1269" y="814"/>
                    <a:pt x="1379" y="704"/>
                    <a:pt x="1379" y="569"/>
                  </a:cubicBezTo>
                  <a:cubicBezTo>
                    <a:pt x="1379" y="465"/>
                    <a:pt x="1313" y="372"/>
                    <a:pt x="1216" y="338"/>
                  </a:cubicBezTo>
                  <a:close/>
                  <a:moveTo>
                    <a:pt x="278" y="1890"/>
                  </a:moveTo>
                  <a:cubicBezTo>
                    <a:pt x="44" y="1890"/>
                    <a:pt x="44" y="1890"/>
                    <a:pt x="44" y="1890"/>
                  </a:cubicBezTo>
                  <a:cubicBezTo>
                    <a:pt x="44" y="1195"/>
                    <a:pt x="44" y="1195"/>
                    <a:pt x="44" y="1195"/>
                  </a:cubicBezTo>
                  <a:cubicBezTo>
                    <a:pt x="278" y="1195"/>
                    <a:pt x="278" y="1195"/>
                    <a:pt x="278" y="1195"/>
                  </a:cubicBezTo>
                  <a:cubicBezTo>
                    <a:pt x="278" y="1151"/>
                    <a:pt x="278" y="1151"/>
                    <a:pt x="278" y="1151"/>
                  </a:cubicBezTo>
                  <a:cubicBezTo>
                    <a:pt x="22" y="1151"/>
                    <a:pt x="22" y="1151"/>
                    <a:pt x="22" y="1151"/>
                  </a:cubicBezTo>
                  <a:cubicBezTo>
                    <a:pt x="10" y="1151"/>
                    <a:pt x="0" y="1161"/>
                    <a:pt x="0" y="1173"/>
                  </a:cubicBezTo>
                  <a:cubicBezTo>
                    <a:pt x="0" y="1912"/>
                    <a:pt x="0" y="1912"/>
                    <a:pt x="0" y="1912"/>
                  </a:cubicBezTo>
                  <a:cubicBezTo>
                    <a:pt x="0" y="1924"/>
                    <a:pt x="10" y="1934"/>
                    <a:pt x="22" y="1934"/>
                  </a:cubicBezTo>
                  <a:cubicBezTo>
                    <a:pt x="278" y="1934"/>
                    <a:pt x="278" y="1934"/>
                    <a:pt x="278" y="1934"/>
                  </a:cubicBezTo>
                  <a:lnTo>
                    <a:pt x="278" y="1890"/>
                  </a:lnTo>
                  <a:close/>
                  <a:moveTo>
                    <a:pt x="1430" y="1151"/>
                  </a:moveTo>
                  <a:cubicBezTo>
                    <a:pt x="1172" y="1151"/>
                    <a:pt x="1172" y="1151"/>
                    <a:pt x="1172" y="1151"/>
                  </a:cubicBezTo>
                  <a:cubicBezTo>
                    <a:pt x="1172" y="1195"/>
                    <a:pt x="1172" y="1195"/>
                    <a:pt x="1172" y="1195"/>
                  </a:cubicBezTo>
                  <a:cubicBezTo>
                    <a:pt x="1408" y="1195"/>
                    <a:pt x="1408" y="1195"/>
                    <a:pt x="1408" y="1195"/>
                  </a:cubicBezTo>
                  <a:cubicBezTo>
                    <a:pt x="1408" y="1890"/>
                    <a:pt x="1408" y="1890"/>
                    <a:pt x="1408" y="1890"/>
                  </a:cubicBezTo>
                  <a:cubicBezTo>
                    <a:pt x="1172" y="1890"/>
                    <a:pt x="1172" y="1890"/>
                    <a:pt x="1172" y="1890"/>
                  </a:cubicBezTo>
                  <a:cubicBezTo>
                    <a:pt x="1172" y="1934"/>
                    <a:pt x="1172" y="1934"/>
                    <a:pt x="1172" y="1934"/>
                  </a:cubicBezTo>
                  <a:cubicBezTo>
                    <a:pt x="1430" y="1934"/>
                    <a:pt x="1430" y="1934"/>
                    <a:pt x="1430" y="1934"/>
                  </a:cubicBezTo>
                  <a:cubicBezTo>
                    <a:pt x="1442" y="1934"/>
                    <a:pt x="1452" y="1924"/>
                    <a:pt x="1452" y="1912"/>
                  </a:cubicBezTo>
                  <a:cubicBezTo>
                    <a:pt x="1452" y="1173"/>
                    <a:pt x="1452" y="1173"/>
                    <a:pt x="1452" y="1173"/>
                  </a:cubicBezTo>
                  <a:cubicBezTo>
                    <a:pt x="1452" y="1161"/>
                    <a:pt x="1442" y="1151"/>
                    <a:pt x="1430" y="1151"/>
                  </a:cubicBezTo>
                  <a:close/>
                </a:path>
              </a:pathLst>
            </a:custGeom>
            <a:solidFill>
              <a:srgbClr val="59595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799" name="Freeform 37"/>
            <p:cNvSpPr>
              <a:spLocks noEditPoints="1"/>
            </p:cNvSpPr>
            <p:nvPr/>
          </p:nvSpPr>
          <p:spPr bwMode="auto">
            <a:xfrm>
              <a:off x="2656" y="383"/>
              <a:ext cx="2372" cy="3558"/>
            </a:xfrm>
            <a:custGeom>
              <a:avLst/>
              <a:gdLst>
                <a:gd name="T0" fmla="*/ 1889 w 1266"/>
                <a:gd name="T1" fmla="*/ 1226 h 1898"/>
                <a:gd name="T2" fmla="*/ 1330 w 1266"/>
                <a:gd name="T3" fmla="*/ 1340 h 1898"/>
                <a:gd name="T4" fmla="*/ 1454 w 1266"/>
                <a:gd name="T5" fmla="*/ 1123 h 1898"/>
                <a:gd name="T6" fmla="*/ 1555 w 1266"/>
                <a:gd name="T7" fmla="*/ 872 h 1898"/>
                <a:gd name="T8" fmla="*/ 1182 w 1266"/>
                <a:gd name="T9" fmla="*/ 562 h 1898"/>
                <a:gd name="T10" fmla="*/ 770 w 1266"/>
                <a:gd name="T11" fmla="*/ 980 h 1898"/>
                <a:gd name="T12" fmla="*/ 1019 w 1266"/>
                <a:gd name="T13" fmla="*/ 1082 h 1898"/>
                <a:gd name="T14" fmla="*/ 759 w 1266"/>
                <a:gd name="T15" fmla="*/ 1395 h 1898"/>
                <a:gd name="T16" fmla="*/ 468 w 1266"/>
                <a:gd name="T17" fmla="*/ 474 h 1898"/>
                <a:gd name="T18" fmla="*/ 1317 w 1266"/>
                <a:gd name="T19" fmla="*/ 306 h 1898"/>
                <a:gd name="T20" fmla="*/ 1748 w 1266"/>
                <a:gd name="T21" fmla="*/ 452 h 1898"/>
                <a:gd name="T22" fmla="*/ 1774 w 1266"/>
                <a:gd name="T23" fmla="*/ 2068 h 1898"/>
                <a:gd name="T24" fmla="*/ 613 w 1266"/>
                <a:gd name="T25" fmla="*/ 2452 h 1898"/>
                <a:gd name="T26" fmla="*/ 613 w 1266"/>
                <a:gd name="T27" fmla="*/ 2049 h 1898"/>
                <a:gd name="T28" fmla="*/ 896 w 1266"/>
                <a:gd name="T29" fmla="*/ 2242 h 1898"/>
                <a:gd name="T30" fmla="*/ 811 w 1266"/>
                <a:gd name="T31" fmla="*/ 2328 h 1898"/>
                <a:gd name="T32" fmla="*/ 1495 w 1266"/>
                <a:gd name="T33" fmla="*/ 2201 h 1898"/>
                <a:gd name="T34" fmla="*/ 1002 w 1266"/>
                <a:gd name="T35" fmla="*/ 2283 h 1898"/>
                <a:gd name="T36" fmla="*/ 1774 w 1266"/>
                <a:gd name="T37" fmla="*/ 2623 h 1898"/>
                <a:gd name="T38" fmla="*/ 613 w 1266"/>
                <a:gd name="T39" fmla="*/ 3005 h 1898"/>
                <a:gd name="T40" fmla="*/ 613 w 1266"/>
                <a:gd name="T41" fmla="*/ 2604 h 1898"/>
                <a:gd name="T42" fmla="*/ 896 w 1266"/>
                <a:gd name="T43" fmla="*/ 2797 h 1898"/>
                <a:gd name="T44" fmla="*/ 811 w 1266"/>
                <a:gd name="T45" fmla="*/ 2881 h 1898"/>
                <a:gd name="T46" fmla="*/ 1495 w 1266"/>
                <a:gd name="T47" fmla="*/ 2756 h 1898"/>
                <a:gd name="T48" fmla="*/ 1002 w 1266"/>
                <a:gd name="T49" fmla="*/ 2838 h 1898"/>
                <a:gd name="T50" fmla="*/ 1774 w 1266"/>
                <a:gd name="T51" fmla="*/ 3174 h 1898"/>
                <a:gd name="T52" fmla="*/ 613 w 1266"/>
                <a:gd name="T53" fmla="*/ 3558 h 1898"/>
                <a:gd name="T54" fmla="*/ 613 w 1266"/>
                <a:gd name="T55" fmla="*/ 3155 h 1898"/>
                <a:gd name="T56" fmla="*/ 896 w 1266"/>
                <a:gd name="T57" fmla="*/ 3350 h 1898"/>
                <a:gd name="T58" fmla="*/ 811 w 1266"/>
                <a:gd name="T59" fmla="*/ 3434 h 1898"/>
                <a:gd name="T60" fmla="*/ 1495 w 1266"/>
                <a:gd name="T61" fmla="*/ 3309 h 1898"/>
                <a:gd name="T62" fmla="*/ 1002 w 1266"/>
                <a:gd name="T63" fmla="*/ 3391 h 1898"/>
                <a:gd name="T64" fmla="*/ 2353 w 1266"/>
                <a:gd name="T65" fmla="*/ 2190 h 1898"/>
                <a:gd name="T66" fmla="*/ 2353 w 1266"/>
                <a:gd name="T67" fmla="*/ 2450 h 1898"/>
                <a:gd name="T68" fmla="*/ 2353 w 1266"/>
                <a:gd name="T69" fmla="*/ 2190 h 1898"/>
                <a:gd name="T70" fmla="*/ 0 w 1266"/>
                <a:gd name="T71" fmla="*/ 2208 h 1898"/>
                <a:gd name="T72" fmla="*/ 347 w 1266"/>
                <a:gd name="T73" fmla="*/ 2450 h 1898"/>
                <a:gd name="T74" fmla="*/ 19 w 1266"/>
                <a:gd name="T75" fmla="*/ 2615 h 1898"/>
                <a:gd name="T76" fmla="*/ 19 w 1266"/>
                <a:gd name="T77" fmla="*/ 2874 h 1898"/>
                <a:gd name="T78" fmla="*/ 2353 w 1266"/>
                <a:gd name="T79" fmla="*/ 2615 h 1898"/>
                <a:gd name="T80" fmla="*/ 2353 w 1266"/>
                <a:gd name="T81" fmla="*/ 2874 h 1898"/>
                <a:gd name="T82" fmla="*/ 2353 w 1266"/>
                <a:gd name="T83" fmla="*/ 2615 h 1898"/>
                <a:gd name="T84" fmla="*/ 0 w 1266"/>
                <a:gd name="T85" fmla="*/ 3056 h 1898"/>
                <a:gd name="T86" fmla="*/ 347 w 1266"/>
                <a:gd name="T87" fmla="*/ 3297 h 1898"/>
                <a:gd name="T88" fmla="*/ 2022 w 1266"/>
                <a:gd name="T89" fmla="*/ 3037 h 1898"/>
                <a:gd name="T90" fmla="*/ 2372 w 1266"/>
                <a:gd name="T91" fmla="*/ 3279 h 18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266"/>
                <a:gd name="T139" fmla="*/ 0 h 1898"/>
                <a:gd name="T140" fmla="*/ 1266 w 1266"/>
                <a:gd name="T141" fmla="*/ 1898 h 189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266" h="1898">
                  <a:moveTo>
                    <a:pt x="1207" y="489"/>
                  </a:moveTo>
                  <a:cubicBezTo>
                    <a:pt x="1207" y="580"/>
                    <a:pt x="1132" y="654"/>
                    <a:pt x="1039" y="654"/>
                  </a:cubicBezTo>
                  <a:cubicBezTo>
                    <a:pt x="1033" y="654"/>
                    <a:pt x="1022" y="654"/>
                    <a:pt x="1008" y="654"/>
                  </a:cubicBezTo>
                  <a:cubicBezTo>
                    <a:pt x="980" y="679"/>
                    <a:pt x="943" y="695"/>
                    <a:pt x="903" y="695"/>
                  </a:cubicBezTo>
                  <a:cubicBezTo>
                    <a:pt x="870" y="695"/>
                    <a:pt x="841" y="685"/>
                    <a:pt x="816" y="669"/>
                  </a:cubicBezTo>
                  <a:cubicBezTo>
                    <a:pt x="788" y="695"/>
                    <a:pt x="751" y="712"/>
                    <a:pt x="710" y="715"/>
                  </a:cubicBezTo>
                  <a:cubicBezTo>
                    <a:pt x="710" y="566"/>
                    <a:pt x="710" y="566"/>
                    <a:pt x="710" y="566"/>
                  </a:cubicBezTo>
                  <a:cubicBezTo>
                    <a:pt x="721" y="576"/>
                    <a:pt x="721" y="576"/>
                    <a:pt x="721" y="576"/>
                  </a:cubicBezTo>
                  <a:cubicBezTo>
                    <a:pt x="736" y="591"/>
                    <a:pt x="755" y="599"/>
                    <a:pt x="776" y="599"/>
                  </a:cubicBezTo>
                  <a:cubicBezTo>
                    <a:pt x="776" y="599"/>
                    <a:pt x="776" y="599"/>
                    <a:pt x="776" y="599"/>
                  </a:cubicBezTo>
                  <a:cubicBezTo>
                    <a:pt x="797" y="599"/>
                    <a:pt x="816" y="590"/>
                    <a:pt x="831" y="575"/>
                  </a:cubicBezTo>
                  <a:cubicBezTo>
                    <a:pt x="861" y="545"/>
                    <a:pt x="861" y="495"/>
                    <a:pt x="830" y="465"/>
                  </a:cubicBezTo>
                  <a:cubicBezTo>
                    <a:pt x="694" y="330"/>
                    <a:pt x="694" y="330"/>
                    <a:pt x="694" y="330"/>
                  </a:cubicBezTo>
                  <a:cubicBezTo>
                    <a:pt x="679" y="311"/>
                    <a:pt x="656" y="300"/>
                    <a:pt x="632" y="300"/>
                  </a:cubicBezTo>
                  <a:cubicBezTo>
                    <a:pt x="632" y="300"/>
                    <a:pt x="631" y="300"/>
                    <a:pt x="631" y="300"/>
                  </a:cubicBezTo>
                  <a:cubicBezTo>
                    <a:pt x="610" y="300"/>
                    <a:pt x="590" y="308"/>
                    <a:pt x="576" y="323"/>
                  </a:cubicBezTo>
                  <a:cubicBezTo>
                    <a:pt x="433" y="468"/>
                    <a:pt x="433" y="468"/>
                    <a:pt x="433" y="468"/>
                  </a:cubicBezTo>
                  <a:cubicBezTo>
                    <a:pt x="419" y="483"/>
                    <a:pt x="411" y="502"/>
                    <a:pt x="411" y="523"/>
                  </a:cubicBezTo>
                  <a:cubicBezTo>
                    <a:pt x="411" y="544"/>
                    <a:pt x="419" y="563"/>
                    <a:pt x="434" y="578"/>
                  </a:cubicBezTo>
                  <a:cubicBezTo>
                    <a:pt x="449" y="593"/>
                    <a:pt x="468" y="600"/>
                    <a:pt x="489" y="600"/>
                  </a:cubicBezTo>
                  <a:cubicBezTo>
                    <a:pt x="510" y="600"/>
                    <a:pt x="529" y="592"/>
                    <a:pt x="544" y="577"/>
                  </a:cubicBezTo>
                  <a:cubicBezTo>
                    <a:pt x="554" y="567"/>
                    <a:pt x="554" y="567"/>
                    <a:pt x="554" y="567"/>
                  </a:cubicBezTo>
                  <a:cubicBezTo>
                    <a:pt x="554" y="687"/>
                    <a:pt x="554" y="687"/>
                    <a:pt x="554" y="687"/>
                  </a:cubicBezTo>
                  <a:cubicBezTo>
                    <a:pt x="515" y="722"/>
                    <a:pt x="462" y="744"/>
                    <a:pt x="405" y="744"/>
                  </a:cubicBezTo>
                  <a:cubicBezTo>
                    <a:pt x="327" y="744"/>
                    <a:pt x="259" y="705"/>
                    <a:pt x="219" y="645"/>
                  </a:cubicBezTo>
                  <a:cubicBezTo>
                    <a:pt x="136" y="619"/>
                    <a:pt x="76" y="543"/>
                    <a:pt x="76" y="452"/>
                  </a:cubicBezTo>
                  <a:cubicBezTo>
                    <a:pt x="76" y="350"/>
                    <a:pt x="152" y="266"/>
                    <a:pt x="250" y="253"/>
                  </a:cubicBezTo>
                  <a:cubicBezTo>
                    <a:pt x="250" y="244"/>
                    <a:pt x="249" y="237"/>
                    <a:pt x="249" y="229"/>
                  </a:cubicBezTo>
                  <a:cubicBezTo>
                    <a:pt x="249" y="103"/>
                    <a:pt x="353" y="0"/>
                    <a:pt x="481" y="0"/>
                  </a:cubicBezTo>
                  <a:cubicBezTo>
                    <a:pt x="586" y="0"/>
                    <a:pt x="674" y="69"/>
                    <a:pt x="703" y="163"/>
                  </a:cubicBezTo>
                  <a:cubicBezTo>
                    <a:pt x="718" y="156"/>
                    <a:pt x="734" y="151"/>
                    <a:pt x="752" y="151"/>
                  </a:cubicBezTo>
                  <a:cubicBezTo>
                    <a:pt x="813" y="151"/>
                    <a:pt x="862" y="198"/>
                    <a:pt x="867" y="256"/>
                  </a:cubicBezTo>
                  <a:cubicBezTo>
                    <a:pt x="887" y="247"/>
                    <a:pt x="910" y="241"/>
                    <a:pt x="933" y="241"/>
                  </a:cubicBezTo>
                  <a:cubicBezTo>
                    <a:pt x="994" y="241"/>
                    <a:pt x="1046" y="276"/>
                    <a:pt x="1071" y="326"/>
                  </a:cubicBezTo>
                  <a:cubicBezTo>
                    <a:pt x="1148" y="341"/>
                    <a:pt x="1207" y="408"/>
                    <a:pt x="1207" y="489"/>
                  </a:cubicBezTo>
                  <a:close/>
                  <a:moveTo>
                    <a:pt x="947" y="1103"/>
                  </a:moveTo>
                  <a:cubicBezTo>
                    <a:pt x="947" y="1298"/>
                    <a:pt x="947" y="1298"/>
                    <a:pt x="947" y="1298"/>
                  </a:cubicBezTo>
                  <a:cubicBezTo>
                    <a:pt x="947" y="1303"/>
                    <a:pt x="943" y="1308"/>
                    <a:pt x="937" y="1308"/>
                  </a:cubicBezTo>
                  <a:cubicBezTo>
                    <a:pt x="327" y="1308"/>
                    <a:pt x="327" y="1308"/>
                    <a:pt x="327" y="1308"/>
                  </a:cubicBezTo>
                  <a:cubicBezTo>
                    <a:pt x="321" y="1308"/>
                    <a:pt x="317" y="1303"/>
                    <a:pt x="317" y="1298"/>
                  </a:cubicBezTo>
                  <a:cubicBezTo>
                    <a:pt x="317" y="1103"/>
                    <a:pt x="317" y="1103"/>
                    <a:pt x="317" y="1103"/>
                  </a:cubicBezTo>
                  <a:cubicBezTo>
                    <a:pt x="317" y="1098"/>
                    <a:pt x="321" y="1093"/>
                    <a:pt x="327" y="1093"/>
                  </a:cubicBezTo>
                  <a:cubicBezTo>
                    <a:pt x="937" y="1093"/>
                    <a:pt x="937" y="1093"/>
                    <a:pt x="937" y="1093"/>
                  </a:cubicBezTo>
                  <a:cubicBezTo>
                    <a:pt x="943" y="1093"/>
                    <a:pt x="947" y="1098"/>
                    <a:pt x="947" y="1103"/>
                  </a:cubicBezTo>
                  <a:close/>
                  <a:moveTo>
                    <a:pt x="478" y="1196"/>
                  </a:moveTo>
                  <a:cubicBezTo>
                    <a:pt x="478" y="1171"/>
                    <a:pt x="458" y="1151"/>
                    <a:pt x="433" y="1151"/>
                  </a:cubicBezTo>
                  <a:cubicBezTo>
                    <a:pt x="408" y="1151"/>
                    <a:pt x="387" y="1171"/>
                    <a:pt x="387" y="1196"/>
                  </a:cubicBezTo>
                  <a:cubicBezTo>
                    <a:pt x="387" y="1221"/>
                    <a:pt x="408" y="1242"/>
                    <a:pt x="433" y="1242"/>
                  </a:cubicBezTo>
                  <a:cubicBezTo>
                    <a:pt x="458" y="1242"/>
                    <a:pt x="478" y="1221"/>
                    <a:pt x="478" y="1196"/>
                  </a:cubicBezTo>
                  <a:close/>
                  <a:moveTo>
                    <a:pt x="820" y="1196"/>
                  </a:moveTo>
                  <a:cubicBezTo>
                    <a:pt x="820" y="1184"/>
                    <a:pt x="810" y="1174"/>
                    <a:pt x="798" y="1174"/>
                  </a:cubicBezTo>
                  <a:cubicBezTo>
                    <a:pt x="535" y="1174"/>
                    <a:pt x="535" y="1174"/>
                    <a:pt x="535" y="1174"/>
                  </a:cubicBezTo>
                  <a:cubicBezTo>
                    <a:pt x="522" y="1174"/>
                    <a:pt x="513" y="1184"/>
                    <a:pt x="513" y="1196"/>
                  </a:cubicBezTo>
                  <a:cubicBezTo>
                    <a:pt x="513" y="1209"/>
                    <a:pt x="522" y="1218"/>
                    <a:pt x="535" y="1218"/>
                  </a:cubicBezTo>
                  <a:cubicBezTo>
                    <a:pt x="798" y="1218"/>
                    <a:pt x="798" y="1218"/>
                    <a:pt x="798" y="1218"/>
                  </a:cubicBezTo>
                  <a:cubicBezTo>
                    <a:pt x="810" y="1218"/>
                    <a:pt x="820" y="1209"/>
                    <a:pt x="820" y="1196"/>
                  </a:cubicBezTo>
                  <a:close/>
                  <a:moveTo>
                    <a:pt x="947" y="1399"/>
                  </a:moveTo>
                  <a:cubicBezTo>
                    <a:pt x="947" y="1593"/>
                    <a:pt x="947" y="1593"/>
                    <a:pt x="947" y="1593"/>
                  </a:cubicBezTo>
                  <a:cubicBezTo>
                    <a:pt x="947" y="1599"/>
                    <a:pt x="943" y="1603"/>
                    <a:pt x="937" y="1603"/>
                  </a:cubicBezTo>
                  <a:cubicBezTo>
                    <a:pt x="327" y="1603"/>
                    <a:pt x="327" y="1603"/>
                    <a:pt x="327" y="1603"/>
                  </a:cubicBezTo>
                  <a:cubicBezTo>
                    <a:pt x="321" y="1603"/>
                    <a:pt x="317" y="1599"/>
                    <a:pt x="317" y="1593"/>
                  </a:cubicBezTo>
                  <a:cubicBezTo>
                    <a:pt x="317" y="1399"/>
                    <a:pt x="317" y="1399"/>
                    <a:pt x="317" y="1399"/>
                  </a:cubicBezTo>
                  <a:cubicBezTo>
                    <a:pt x="317" y="1393"/>
                    <a:pt x="321" y="1389"/>
                    <a:pt x="327" y="1389"/>
                  </a:cubicBezTo>
                  <a:cubicBezTo>
                    <a:pt x="937" y="1389"/>
                    <a:pt x="937" y="1389"/>
                    <a:pt x="937" y="1389"/>
                  </a:cubicBezTo>
                  <a:cubicBezTo>
                    <a:pt x="943" y="1389"/>
                    <a:pt x="947" y="1393"/>
                    <a:pt x="947" y="1399"/>
                  </a:cubicBezTo>
                  <a:close/>
                  <a:moveTo>
                    <a:pt x="478" y="1492"/>
                  </a:moveTo>
                  <a:cubicBezTo>
                    <a:pt x="478" y="1467"/>
                    <a:pt x="458" y="1446"/>
                    <a:pt x="433" y="1446"/>
                  </a:cubicBezTo>
                  <a:cubicBezTo>
                    <a:pt x="408" y="1446"/>
                    <a:pt x="387" y="1467"/>
                    <a:pt x="387" y="1492"/>
                  </a:cubicBezTo>
                  <a:cubicBezTo>
                    <a:pt x="387" y="1517"/>
                    <a:pt x="408" y="1537"/>
                    <a:pt x="433" y="1537"/>
                  </a:cubicBezTo>
                  <a:cubicBezTo>
                    <a:pt x="458" y="1537"/>
                    <a:pt x="478" y="1517"/>
                    <a:pt x="478" y="1492"/>
                  </a:cubicBezTo>
                  <a:close/>
                  <a:moveTo>
                    <a:pt x="820" y="1492"/>
                  </a:moveTo>
                  <a:cubicBezTo>
                    <a:pt x="820" y="1480"/>
                    <a:pt x="810" y="1470"/>
                    <a:pt x="798" y="1470"/>
                  </a:cubicBezTo>
                  <a:cubicBezTo>
                    <a:pt x="535" y="1470"/>
                    <a:pt x="535" y="1470"/>
                    <a:pt x="535" y="1470"/>
                  </a:cubicBezTo>
                  <a:cubicBezTo>
                    <a:pt x="522" y="1470"/>
                    <a:pt x="513" y="1480"/>
                    <a:pt x="513" y="1492"/>
                  </a:cubicBezTo>
                  <a:cubicBezTo>
                    <a:pt x="513" y="1504"/>
                    <a:pt x="522" y="1514"/>
                    <a:pt x="535" y="1514"/>
                  </a:cubicBezTo>
                  <a:cubicBezTo>
                    <a:pt x="798" y="1514"/>
                    <a:pt x="798" y="1514"/>
                    <a:pt x="798" y="1514"/>
                  </a:cubicBezTo>
                  <a:cubicBezTo>
                    <a:pt x="810" y="1514"/>
                    <a:pt x="820" y="1504"/>
                    <a:pt x="820" y="1492"/>
                  </a:cubicBezTo>
                  <a:close/>
                  <a:moveTo>
                    <a:pt x="947" y="1693"/>
                  </a:moveTo>
                  <a:cubicBezTo>
                    <a:pt x="947" y="1888"/>
                    <a:pt x="947" y="1888"/>
                    <a:pt x="947" y="1888"/>
                  </a:cubicBezTo>
                  <a:cubicBezTo>
                    <a:pt x="947" y="1893"/>
                    <a:pt x="943" y="1898"/>
                    <a:pt x="937" y="1898"/>
                  </a:cubicBezTo>
                  <a:cubicBezTo>
                    <a:pt x="327" y="1898"/>
                    <a:pt x="327" y="1898"/>
                    <a:pt x="327" y="1898"/>
                  </a:cubicBezTo>
                  <a:cubicBezTo>
                    <a:pt x="321" y="1898"/>
                    <a:pt x="317" y="1893"/>
                    <a:pt x="317" y="1888"/>
                  </a:cubicBezTo>
                  <a:cubicBezTo>
                    <a:pt x="317" y="1693"/>
                    <a:pt x="317" y="1693"/>
                    <a:pt x="317" y="1693"/>
                  </a:cubicBezTo>
                  <a:cubicBezTo>
                    <a:pt x="317" y="1688"/>
                    <a:pt x="321" y="1683"/>
                    <a:pt x="327" y="1683"/>
                  </a:cubicBezTo>
                  <a:cubicBezTo>
                    <a:pt x="937" y="1683"/>
                    <a:pt x="937" y="1683"/>
                    <a:pt x="937" y="1683"/>
                  </a:cubicBezTo>
                  <a:cubicBezTo>
                    <a:pt x="943" y="1683"/>
                    <a:pt x="947" y="1688"/>
                    <a:pt x="947" y="1693"/>
                  </a:cubicBezTo>
                  <a:close/>
                  <a:moveTo>
                    <a:pt x="478" y="1787"/>
                  </a:moveTo>
                  <a:cubicBezTo>
                    <a:pt x="478" y="1762"/>
                    <a:pt x="458" y="1741"/>
                    <a:pt x="433" y="1741"/>
                  </a:cubicBezTo>
                  <a:cubicBezTo>
                    <a:pt x="408" y="1741"/>
                    <a:pt x="387" y="1762"/>
                    <a:pt x="387" y="1787"/>
                  </a:cubicBezTo>
                  <a:cubicBezTo>
                    <a:pt x="387" y="1812"/>
                    <a:pt x="408" y="1832"/>
                    <a:pt x="433" y="1832"/>
                  </a:cubicBezTo>
                  <a:cubicBezTo>
                    <a:pt x="458" y="1832"/>
                    <a:pt x="478" y="1812"/>
                    <a:pt x="478" y="1787"/>
                  </a:cubicBezTo>
                  <a:close/>
                  <a:moveTo>
                    <a:pt x="820" y="1787"/>
                  </a:moveTo>
                  <a:cubicBezTo>
                    <a:pt x="820" y="1774"/>
                    <a:pt x="810" y="1765"/>
                    <a:pt x="798" y="1765"/>
                  </a:cubicBezTo>
                  <a:cubicBezTo>
                    <a:pt x="535" y="1765"/>
                    <a:pt x="535" y="1765"/>
                    <a:pt x="535" y="1765"/>
                  </a:cubicBezTo>
                  <a:cubicBezTo>
                    <a:pt x="522" y="1765"/>
                    <a:pt x="513" y="1774"/>
                    <a:pt x="513" y="1787"/>
                  </a:cubicBezTo>
                  <a:cubicBezTo>
                    <a:pt x="513" y="1799"/>
                    <a:pt x="522" y="1809"/>
                    <a:pt x="535" y="1809"/>
                  </a:cubicBezTo>
                  <a:cubicBezTo>
                    <a:pt x="798" y="1809"/>
                    <a:pt x="798" y="1809"/>
                    <a:pt x="798" y="1809"/>
                  </a:cubicBezTo>
                  <a:cubicBezTo>
                    <a:pt x="810" y="1809"/>
                    <a:pt x="820" y="1799"/>
                    <a:pt x="820" y="1787"/>
                  </a:cubicBezTo>
                  <a:close/>
                  <a:moveTo>
                    <a:pt x="1256" y="1168"/>
                  </a:moveTo>
                  <a:cubicBezTo>
                    <a:pt x="1079" y="1168"/>
                    <a:pt x="1079" y="1168"/>
                    <a:pt x="1079" y="1168"/>
                  </a:cubicBezTo>
                  <a:cubicBezTo>
                    <a:pt x="1079" y="1307"/>
                    <a:pt x="1079" y="1307"/>
                    <a:pt x="1079" y="1307"/>
                  </a:cubicBezTo>
                  <a:cubicBezTo>
                    <a:pt x="1256" y="1307"/>
                    <a:pt x="1256" y="1307"/>
                    <a:pt x="1256" y="1307"/>
                  </a:cubicBezTo>
                  <a:cubicBezTo>
                    <a:pt x="1262" y="1307"/>
                    <a:pt x="1266" y="1302"/>
                    <a:pt x="1266" y="1297"/>
                  </a:cubicBezTo>
                  <a:cubicBezTo>
                    <a:pt x="1266" y="1178"/>
                    <a:pt x="1266" y="1178"/>
                    <a:pt x="1266" y="1178"/>
                  </a:cubicBezTo>
                  <a:cubicBezTo>
                    <a:pt x="1266" y="1172"/>
                    <a:pt x="1262" y="1168"/>
                    <a:pt x="1256" y="1168"/>
                  </a:cubicBezTo>
                  <a:close/>
                  <a:moveTo>
                    <a:pt x="185" y="1168"/>
                  </a:moveTo>
                  <a:cubicBezTo>
                    <a:pt x="10" y="1168"/>
                    <a:pt x="10" y="1168"/>
                    <a:pt x="10" y="1168"/>
                  </a:cubicBezTo>
                  <a:cubicBezTo>
                    <a:pt x="4" y="1168"/>
                    <a:pt x="0" y="1172"/>
                    <a:pt x="0" y="1178"/>
                  </a:cubicBezTo>
                  <a:cubicBezTo>
                    <a:pt x="0" y="1297"/>
                    <a:pt x="0" y="1297"/>
                    <a:pt x="0" y="1297"/>
                  </a:cubicBezTo>
                  <a:cubicBezTo>
                    <a:pt x="0" y="1302"/>
                    <a:pt x="4" y="1307"/>
                    <a:pt x="10" y="1307"/>
                  </a:cubicBezTo>
                  <a:cubicBezTo>
                    <a:pt x="185" y="1307"/>
                    <a:pt x="185" y="1307"/>
                    <a:pt x="185" y="1307"/>
                  </a:cubicBezTo>
                  <a:lnTo>
                    <a:pt x="185" y="1168"/>
                  </a:lnTo>
                  <a:close/>
                  <a:moveTo>
                    <a:pt x="185" y="1395"/>
                  </a:moveTo>
                  <a:cubicBezTo>
                    <a:pt x="10" y="1395"/>
                    <a:pt x="10" y="1395"/>
                    <a:pt x="10" y="1395"/>
                  </a:cubicBezTo>
                  <a:cubicBezTo>
                    <a:pt x="4" y="1395"/>
                    <a:pt x="0" y="1399"/>
                    <a:pt x="0" y="1405"/>
                  </a:cubicBezTo>
                  <a:cubicBezTo>
                    <a:pt x="0" y="1523"/>
                    <a:pt x="0" y="1523"/>
                    <a:pt x="0" y="1523"/>
                  </a:cubicBezTo>
                  <a:cubicBezTo>
                    <a:pt x="0" y="1529"/>
                    <a:pt x="4" y="1533"/>
                    <a:pt x="10" y="1533"/>
                  </a:cubicBezTo>
                  <a:cubicBezTo>
                    <a:pt x="185" y="1533"/>
                    <a:pt x="185" y="1533"/>
                    <a:pt x="185" y="1533"/>
                  </a:cubicBezTo>
                  <a:lnTo>
                    <a:pt x="185" y="1395"/>
                  </a:lnTo>
                  <a:close/>
                  <a:moveTo>
                    <a:pt x="1256" y="1395"/>
                  </a:moveTo>
                  <a:cubicBezTo>
                    <a:pt x="1079" y="1395"/>
                    <a:pt x="1079" y="1395"/>
                    <a:pt x="1079" y="1395"/>
                  </a:cubicBezTo>
                  <a:cubicBezTo>
                    <a:pt x="1079" y="1533"/>
                    <a:pt x="1079" y="1533"/>
                    <a:pt x="1079" y="1533"/>
                  </a:cubicBezTo>
                  <a:cubicBezTo>
                    <a:pt x="1256" y="1533"/>
                    <a:pt x="1256" y="1533"/>
                    <a:pt x="1256" y="1533"/>
                  </a:cubicBezTo>
                  <a:cubicBezTo>
                    <a:pt x="1262" y="1533"/>
                    <a:pt x="1266" y="1529"/>
                    <a:pt x="1266" y="1523"/>
                  </a:cubicBezTo>
                  <a:cubicBezTo>
                    <a:pt x="1266" y="1405"/>
                    <a:pt x="1266" y="1405"/>
                    <a:pt x="1266" y="1405"/>
                  </a:cubicBezTo>
                  <a:cubicBezTo>
                    <a:pt x="1266" y="1399"/>
                    <a:pt x="1262" y="1395"/>
                    <a:pt x="1256" y="1395"/>
                  </a:cubicBezTo>
                  <a:close/>
                  <a:moveTo>
                    <a:pt x="185" y="1620"/>
                  </a:moveTo>
                  <a:cubicBezTo>
                    <a:pt x="10" y="1620"/>
                    <a:pt x="10" y="1620"/>
                    <a:pt x="10" y="1620"/>
                  </a:cubicBezTo>
                  <a:cubicBezTo>
                    <a:pt x="4" y="1620"/>
                    <a:pt x="0" y="1624"/>
                    <a:pt x="0" y="1630"/>
                  </a:cubicBezTo>
                  <a:cubicBezTo>
                    <a:pt x="0" y="1749"/>
                    <a:pt x="0" y="1749"/>
                    <a:pt x="0" y="1749"/>
                  </a:cubicBezTo>
                  <a:cubicBezTo>
                    <a:pt x="0" y="1754"/>
                    <a:pt x="4" y="1759"/>
                    <a:pt x="10" y="1759"/>
                  </a:cubicBezTo>
                  <a:cubicBezTo>
                    <a:pt x="185" y="1759"/>
                    <a:pt x="185" y="1759"/>
                    <a:pt x="185" y="1759"/>
                  </a:cubicBezTo>
                  <a:lnTo>
                    <a:pt x="185" y="1620"/>
                  </a:lnTo>
                  <a:close/>
                  <a:moveTo>
                    <a:pt x="1256" y="1620"/>
                  </a:moveTo>
                  <a:cubicBezTo>
                    <a:pt x="1079" y="1620"/>
                    <a:pt x="1079" y="1620"/>
                    <a:pt x="1079" y="1620"/>
                  </a:cubicBezTo>
                  <a:cubicBezTo>
                    <a:pt x="1079" y="1759"/>
                    <a:pt x="1079" y="1759"/>
                    <a:pt x="1079" y="1759"/>
                  </a:cubicBezTo>
                  <a:cubicBezTo>
                    <a:pt x="1256" y="1759"/>
                    <a:pt x="1256" y="1759"/>
                    <a:pt x="1256" y="1759"/>
                  </a:cubicBezTo>
                  <a:cubicBezTo>
                    <a:pt x="1262" y="1759"/>
                    <a:pt x="1266" y="1754"/>
                    <a:pt x="1266" y="1749"/>
                  </a:cubicBezTo>
                  <a:cubicBezTo>
                    <a:pt x="1266" y="1630"/>
                    <a:pt x="1266" y="1630"/>
                    <a:pt x="1266" y="1630"/>
                  </a:cubicBezTo>
                  <a:cubicBezTo>
                    <a:pt x="1266" y="1624"/>
                    <a:pt x="1262" y="1620"/>
                    <a:pt x="1256" y="1620"/>
                  </a:cubicBez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72738" name="Group 180"/>
          <p:cNvGrpSpPr>
            <a:grpSpLocks noChangeAspect="1"/>
          </p:cNvGrpSpPr>
          <p:nvPr/>
        </p:nvGrpSpPr>
        <p:grpSpPr bwMode="auto">
          <a:xfrm>
            <a:off x="3614738" y="1384300"/>
            <a:ext cx="457200" cy="457200"/>
            <a:chOff x="5273675" y="2606675"/>
            <a:chExt cx="1646238" cy="1644650"/>
          </a:xfrm>
        </p:grpSpPr>
        <p:sp>
          <p:nvSpPr>
            <p:cNvPr id="7279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6238" cy="1644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72794" name="Group 182"/>
            <p:cNvGrpSpPr>
              <a:grpSpLocks/>
            </p:cNvGrpSpPr>
            <p:nvPr/>
          </p:nvGrpSpPr>
          <p:grpSpPr bwMode="auto">
            <a:xfrm>
              <a:off x="5443538" y="2960688"/>
              <a:ext cx="1304925" cy="936625"/>
              <a:chOff x="5443538" y="2960688"/>
              <a:chExt cx="1304925" cy="936625"/>
            </a:xfrm>
          </p:grpSpPr>
          <p:sp>
            <p:nvSpPr>
              <p:cNvPr id="72795" name="Freeform 5"/>
              <p:cNvSpPr>
                <a:spLocks/>
              </p:cNvSpPr>
              <p:nvPr/>
            </p:nvSpPr>
            <p:spPr bwMode="auto">
              <a:xfrm>
                <a:off x="5443538" y="2960688"/>
                <a:ext cx="1304925" cy="936625"/>
              </a:xfrm>
              <a:custGeom>
                <a:avLst/>
                <a:gdLst>
                  <a:gd name="T0" fmla="*/ 1289220 w 1828"/>
                  <a:gd name="T1" fmla="*/ 0 h 1313"/>
                  <a:gd name="T2" fmla="*/ 801658 w 1828"/>
                  <a:gd name="T3" fmla="*/ 0 h 1313"/>
                  <a:gd name="T4" fmla="*/ 801658 w 1828"/>
                  <a:gd name="T5" fmla="*/ 713 h 1313"/>
                  <a:gd name="T6" fmla="*/ 801658 w 1828"/>
                  <a:gd name="T7" fmla="*/ 31387 h 1313"/>
                  <a:gd name="T8" fmla="*/ 1273515 w 1828"/>
                  <a:gd name="T9" fmla="*/ 31387 h 1313"/>
                  <a:gd name="T10" fmla="*/ 1273515 w 1828"/>
                  <a:gd name="T11" fmla="*/ 905238 h 1313"/>
                  <a:gd name="T12" fmla="*/ 31410 w 1828"/>
                  <a:gd name="T13" fmla="*/ 905238 h 1313"/>
                  <a:gd name="T14" fmla="*/ 31410 w 1828"/>
                  <a:gd name="T15" fmla="*/ 31387 h 1313"/>
                  <a:gd name="T16" fmla="*/ 503267 w 1828"/>
                  <a:gd name="T17" fmla="*/ 31387 h 1313"/>
                  <a:gd name="T18" fmla="*/ 503267 w 1828"/>
                  <a:gd name="T19" fmla="*/ 713 h 1313"/>
                  <a:gd name="T20" fmla="*/ 503267 w 1828"/>
                  <a:gd name="T21" fmla="*/ 0 h 1313"/>
                  <a:gd name="T22" fmla="*/ 15705 w 1828"/>
                  <a:gd name="T23" fmla="*/ 0 h 1313"/>
                  <a:gd name="T24" fmla="*/ 0 w 1828"/>
                  <a:gd name="T25" fmla="*/ 15694 h 1313"/>
                  <a:gd name="T26" fmla="*/ 0 w 1828"/>
                  <a:gd name="T27" fmla="*/ 920931 h 1313"/>
                  <a:gd name="T28" fmla="*/ 15705 w 1828"/>
                  <a:gd name="T29" fmla="*/ 936625 h 1313"/>
                  <a:gd name="T30" fmla="*/ 1289220 w 1828"/>
                  <a:gd name="T31" fmla="*/ 936625 h 1313"/>
                  <a:gd name="T32" fmla="*/ 1304925 w 1828"/>
                  <a:gd name="T33" fmla="*/ 920931 h 1313"/>
                  <a:gd name="T34" fmla="*/ 1304925 w 1828"/>
                  <a:gd name="T35" fmla="*/ 15694 h 1313"/>
                  <a:gd name="T36" fmla="*/ 1289220 w 1828"/>
                  <a:gd name="T37" fmla="*/ 0 h 131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828"/>
                  <a:gd name="T58" fmla="*/ 0 h 1313"/>
                  <a:gd name="T59" fmla="*/ 1828 w 1828"/>
                  <a:gd name="T60" fmla="*/ 1313 h 131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828" h="1313">
                    <a:moveTo>
                      <a:pt x="1806" y="0"/>
                    </a:moveTo>
                    <a:cubicBezTo>
                      <a:pt x="1123" y="0"/>
                      <a:pt x="1123" y="0"/>
                      <a:pt x="1123" y="0"/>
                    </a:cubicBezTo>
                    <a:cubicBezTo>
                      <a:pt x="1123" y="1"/>
                      <a:pt x="1123" y="1"/>
                      <a:pt x="1123" y="1"/>
                    </a:cubicBezTo>
                    <a:cubicBezTo>
                      <a:pt x="1123" y="44"/>
                      <a:pt x="1123" y="44"/>
                      <a:pt x="1123" y="44"/>
                    </a:cubicBezTo>
                    <a:cubicBezTo>
                      <a:pt x="1784" y="44"/>
                      <a:pt x="1784" y="44"/>
                      <a:pt x="1784" y="44"/>
                    </a:cubicBezTo>
                    <a:cubicBezTo>
                      <a:pt x="1784" y="1269"/>
                      <a:pt x="1784" y="1269"/>
                      <a:pt x="1784" y="1269"/>
                    </a:cubicBezTo>
                    <a:cubicBezTo>
                      <a:pt x="44" y="1269"/>
                      <a:pt x="44" y="1269"/>
                      <a:pt x="44" y="1269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705" y="44"/>
                      <a:pt x="705" y="44"/>
                      <a:pt x="705" y="44"/>
                    </a:cubicBezTo>
                    <a:cubicBezTo>
                      <a:pt x="705" y="1"/>
                      <a:pt x="705" y="1"/>
                      <a:pt x="705" y="1"/>
                    </a:cubicBezTo>
                    <a:cubicBezTo>
                      <a:pt x="705" y="0"/>
                      <a:pt x="705" y="0"/>
                      <a:pt x="705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1291"/>
                      <a:pt x="0" y="1291"/>
                      <a:pt x="0" y="1291"/>
                    </a:cubicBezTo>
                    <a:cubicBezTo>
                      <a:pt x="0" y="1303"/>
                      <a:pt x="10" y="1313"/>
                      <a:pt x="22" y="1313"/>
                    </a:cubicBezTo>
                    <a:cubicBezTo>
                      <a:pt x="1806" y="1313"/>
                      <a:pt x="1806" y="1313"/>
                      <a:pt x="1806" y="1313"/>
                    </a:cubicBezTo>
                    <a:cubicBezTo>
                      <a:pt x="1818" y="1313"/>
                      <a:pt x="1828" y="1303"/>
                      <a:pt x="1828" y="1291"/>
                    </a:cubicBezTo>
                    <a:cubicBezTo>
                      <a:pt x="1828" y="22"/>
                      <a:pt x="1828" y="22"/>
                      <a:pt x="1828" y="22"/>
                    </a:cubicBezTo>
                    <a:cubicBezTo>
                      <a:pt x="1828" y="10"/>
                      <a:pt x="1818" y="0"/>
                      <a:pt x="1806" y="0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796" name="Freeform 184"/>
              <p:cNvSpPr>
                <a:spLocks/>
              </p:cNvSpPr>
              <p:nvPr/>
            </p:nvSpPr>
            <p:spPr bwMode="auto">
              <a:xfrm>
                <a:off x="5538788" y="2962274"/>
                <a:ext cx="1108419" cy="846138"/>
              </a:xfrm>
              <a:custGeom>
                <a:avLst/>
                <a:gdLst/>
                <a:ahLst/>
                <a:cxnLst/>
                <a:rect l="0" t="0" r="r" b="b"/>
                <a:pathLst>
                  <a:path w="1108419" h="846138">
                    <a:moveTo>
                      <a:pt x="15729" y="814388"/>
                    </a:moveTo>
                    <a:cubicBezTo>
                      <a:pt x="15729" y="814388"/>
                      <a:pt x="15729" y="814388"/>
                      <a:pt x="172310" y="814388"/>
                    </a:cubicBezTo>
                    <a:cubicBezTo>
                      <a:pt x="180175" y="814388"/>
                      <a:pt x="187325" y="821772"/>
                      <a:pt x="187325" y="830632"/>
                    </a:cubicBezTo>
                    <a:cubicBezTo>
                      <a:pt x="187325" y="839493"/>
                      <a:pt x="180175" y="846138"/>
                      <a:pt x="172310" y="846138"/>
                    </a:cubicBezTo>
                    <a:cubicBezTo>
                      <a:pt x="172310" y="846138"/>
                      <a:pt x="172310" y="846138"/>
                      <a:pt x="15729" y="846138"/>
                    </a:cubicBezTo>
                    <a:cubicBezTo>
                      <a:pt x="7150" y="846138"/>
                      <a:pt x="0" y="839493"/>
                      <a:pt x="0" y="830632"/>
                    </a:cubicBezTo>
                    <a:cubicBezTo>
                      <a:pt x="0" y="821772"/>
                      <a:pt x="7150" y="814388"/>
                      <a:pt x="15729" y="814388"/>
                    </a:cubicBezTo>
                    <a:close/>
                    <a:moveTo>
                      <a:pt x="15772" y="755650"/>
                    </a:moveTo>
                    <a:cubicBezTo>
                      <a:pt x="15772" y="755650"/>
                      <a:pt x="15772" y="755650"/>
                      <a:pt x="296095" y="755650"/>
                    </a:cubicBezTo>
                    <a:cubicBezTo>
                      <a:pt x="303981" y="755650"/>
                      <a:pt x="311150" y="762665"/>
                      <a:pt x="311150" y="771082"/>
                    </a:cubicBezTo>
                    <a:cubicBezTo>
                      <a:pt x="311150" y="779500"/>
                      <a:pt x="303981" y="785813"/>
                      <a:pt x="296095" y="785813"/>
                    </a:cubicBezTo>
                    <a:cubicBezTo>
                      <a:pt x="296095" y="785813"/>
                      <a:pt x="296095" y="785813"/>
                      <a:pt x="15772" y="785813"/>
                    </a:cubicBezTo>
                    <a:cubicBezTo>
                      <a:pt x="7169" y="785813"/>
                      <a:pt x="0" y="779500"/>
                      <a:pt x="0" y="771082"/>
                    </a:cubicBezTo>
                    <a:cubicBezTo>
                      <a:pt x="0" y="762665"/>
                      <a:pt x="7169" y="755650"/>
                      <a:pt x="15772" y="755650"/>
                    </a:cubicBezTo>
                    <a:close/>
                    <a:moveTo>
                      <a:pt x="15795" y="695325"/>
                    </a:moveTo>
                    <a:cubicBezTo>
                      <a:pt x="15795" y="695325"/>
                      <a:pt x="15795" y="695325"/>
                      <a:pt x="269955" y="695325"/>
                    </a:cubicBezTo>
                    <a:cubicBezTo>
                      <a:pt x="278571" y="695325"/>
                      <a:pt x="285750" y="702340"/>
                      <a:pt x="285750" y="710757"/>
                    </a:cubicBezTo>
                    <a:cubicBezTo>
                      <a:pt x="285750" y="719876"/>
                      <a:pt x="278571" y="725488"/>
                      <a:pt x="269955" y="725488"/>
                    </a:cubicBezTo>
                    <a:cubicBezTo>
                      <a:pt x="269955" y="725488"/>
                      <a:pt x="269955" y="725488"/>
                      <a:pt x="15795" y="725488"/>
                    </a:cubicBezTo>
                    <a:cubicBezTo>
                      <a:pt x="7179" y="725488"/>
                      <a:pt x="0" y="719876"/>
                      <a:pt x="0" y="710757"/>
                    </a:cubicBezTo>
                    <a:cubicBezTo>
                      <a:pt x="0" y="702340"/>
                      <a:pt x="7179" y="695325"/>
                      <a:pt x="15795" y="695325"/>
                    </a:cubicBezTo>
                    <a:close/>
                    <a:moveTo>
                      <a:pt x="1022350" y="657225"/>
                    </a:moveTo>
                    <a:cubicBezTo>
                      <a:pt x="1023769" y="657225"/>
                      <a:pt x="1024479" y="657225"/>
                      <a:pt x="1025189" y="657941"/>
                    </a:cubicBezTo>
                    <a:cubicBezTo>
                      <a:pt x="1026609" y="657941"/>
                      <a:pt x="1027319" y="657941"/>
                      <a:pt x="1028029" y="658656"/>
                    </a:cubicBezTo>
                    <a:cubicBezTo>
                      <a:pt x="1028029" y="658656"/>
                      <a:pt x="1028029" y="658656"/>
                      <a:pt x="1028738" y="658656"/>
                    </a:cubicBezTo>
                    <a:cubicBezTo>
                      <a:pt x="1029448" y="658656"/>
                      <a:pt x="1030158" y="659372"/>
                      <a:pt x="1030868" y="659372"/>
                    </a:cubicBezTo>
                    <a:cubicBezTo>
                      <a:pt x="1032288" y="660087"/>
                      <a:pt x="1032998" y="660803"/>
                      <a:pt x="1033707" y="661519"/>
                    </a:cubicBezTo>
                    <a:cubicBezTo>
                      <a:pt x="1104693" y="733077"/>
                      <a:pt x="1104693" y="733077"/>
                      <a:pt x="1104693" y="733077"/>
                    </a:cubicBezTo>
                    <a:cubicBezTo>
                      <a:pt x="1109662" y="738801"/>
                      <a:pt x="1109662" y="748819"/>
                      <a:pt x="1104693" y="754544"/>
                    </a:cubicBezTo>
                    <a:cubicBezTo>
                      <a:pt x="1101854" y="757406"/>
                      <a:pt x="1097595" y="758837"/>
                      <a:pt x="1093336" y="758837"/>
                    </a:cubicBezTo>
                    <a:cubicBezTo>
                      <a:pt x="1089786" y="758837"/>
                      <a:pt x="1085527" y="757406"/>
                      <a:pt x="1082688" y="754544"/>
                    </a:cubicBezTo>
                    <a:cubicBezTo>
                      <a:pt x="1037967" y="709462"/>
                      <a:pt x="1037967" y="709462"/>
                      <a:pt x="1037967" y="709462"/>
                    </a:cubicBezTo>
                    <a:cubicBezTo>
                      <a:pt x="1037967" y="831111"/>
                      <a:pt x="1037967" y="831111"/>
                      <a:pt x="1037967" y="831111"/>
                    </a:cubicBezTo>
                    <a:cubicBezTo>
                      <a:pt x="1037967" y="839698"/>
                      <a:pt x="1030868" y="846138"/>
                      <a:pt x="1022350" y="846138"/>
                    </a:cubicBezTo>
                    <a:cubicBezTo>
                      <a:pt x="1014541" y="846138"/>
                      <a:pt x="1007443" y="839698"/>
                      <a:pt x="1007443" y="831111"/>
                    </a:cubicBezTo>
                    <a:cubicBezTo>
                      <a:pt x="1007443" y="709462"/>
                      <a:pt x="1007443" y="709462"/>
                      <a:pt x="1007443" y="709462"/>
                    </a:cubicBezTo>
                    <a:cubicBezTo>
                      <a:pt x="962722" y="754544"/>
                      <a:pt x="962722" y="754544"/>
                      <a:pt x="962722" y="754544"/>
                    </a:cubicBezTo>
                    <a:cubicBezTo>
                      <a:pt x="957043" y="760984"/>
                      <a:pt x="947105" y="760984"/>
                      <a:pt x="941426" y="754544"/>
                    </a:cubicBezTo>
                    <a:cubicBezTo>
                      <a:pt x="935037" y="748819"/>
                      <a:pt x="935037" y="738801"/>
                      <a:pt x="941426" y="733077"/>
                    </a:cubicBezTo>
                    <a:cubicBezTo>
                      <a:pt x="1012412" y="661519"/>
                      <a:pt x="1012412" y="661519"/>
                      <a:pt x="1012412" y="661519"/>
                    </a:cubicBezTo>
                    <a:cubicBezTo>
                      <a:pt x="1013122" y="660803"/>
                      <a:pt x="1013831" y="660087"/>
                      <a:pt x="1014541" y="659372"/>
                    </a:cubicBezTo>
                    <a:cubicBezTo>
                      <a:pt x="1015251" y="659372"/>
                      <a:pt x="1016671" y="658656"/>
                      <a:pt x="1016671" y="658656"/>
                    </a:cubicBezTo>
                    <a:cubicBezTo>
                      <a:pt x="1017381" y="657941"/>
                      <a:pt x="1018800" y="657941"/>
                      <a:pt x="1019510" y="657941"/>
                    </a:cubicBezTo>
                    <a:cubicBezTo>
                      <a:pt x="1020220" y="657225"/>
                      <a:pt x="1021640" y="657225"/>
                      <a:pt x="1022350" y="657225"/>
                    </a:cubicBezTo>
                    <a:close/>
                    <a:moveTo>
                      <a:pt x="198437" y="471488"/>
                    </a:moveTo>
                    <a:cubicBezTo>
                      <a:pt x="198437" y="471488"/>
                      <a:pt x="198437" y="471488"/>
                      <a:pt x="263525" y="471488"/>
                    </a:cubicBezTo>
                    <a:cubicBezTo>
                      <a:pt x="263525" y="471488"/>
                      <a:pt x="263525" y="471488"/>
                      <a:pt x="263525" y="505234"/>
                    </a:cubicBezTo>
                    <a:cubicBezTo>
                      <a:pt x="263525" y="513671"/>
                      <a:pt x="256373" y="520701"/>
                      <a:pt x="247790" y="520701"/>
                    </a:cubicBezTo>
                    <a:cubicBezTo>
                      <a:pt x="247790" y="520701"/>
                      <a:pt x="247790" y="520701"/>
                      <a:pt x="198437" y="520701"/>
                    </a:cubicBezTo>
                    <a:cubicBezTo>
                      <a:pt x="198437" y="520701"/>
                      <a:pt x="198437" y="520701"/>
                      <a:pt x="198437" y="471488"/>
                    </a:cubicBezTo>
                    <a:close/>
                    <a:moveTo>
                      <a:pt x="1587" y="471488"/>
                    </a:moveTo>
                    <a:cubicBezTo>
                      <a:pt x="1587" y="471488"/>
                      <a:pt x="1587" y="471488"/>
                      <a:pt x="166687" y="471488"/>
                    </a:cubicBezTo>
                    <a:cubicBezTo>
                      <a:pt x="166687" y="471488"/>
                      <a:pt x="166687" y="471488"/>
                      <a:pt x="166687" y="520701"/>
                    </a:cubicBezTo>
                    <a:cubicBezTo>
                      <a:pt x="166687" y="520701"/>
                      <a:pt x="166687" y="520701"/>
                      <a:pt x="17311" y="520701"/>
                    </a:cubicBezTo>
                    <a:cubicBezTo>
                      <a:pt x="8734" y="520701"/>
                      <a:pt x="1587" y="513671"/>
                      <a:pt x="1587" y="505234"/>
                    </a:cubicBezTo>
                    <a:cubicBezTo>
                      <a:pt x="1587" y="505234"/>
                      <a:pt x="1587" y="505234"/>
                      <a:pt x="1587" y="471488"/>
                    </a:cubicBezTo>
                    <a:close/>
                    <a:moveTo>
                      <a:pt x="198437" y="390525"/>
                    </a:moveTo>
                    <a:cubicBezTo>
                      <a:pt x="198437" y="390525"/>
                      <a:pt x="198437" y="390525"/>
                      <a:pt x="247790" y="390525"/>
                    </a:cubicBezTo>
                    <a:cubicBezTo>
                      <a:pt x="256373" y="390525"/>
                      <a:pt x="263525" y="397657"/>
                      <a:pt x="263525" y="406216"/>
                    </a:cubicBezTo>
                    <a:lnTo>
                      <a:pt x="263525" y="439738"/>
                    </a:lnTo>
                    <a:cubicBezTo>
                      <a:pt x="263525" y="439738"/>
                      <a:pt x="263525" y="439738"/>
                      <a:pt x="198437" y="439738"/>
                    </a:cubicBezTo>
                    <a:cubicBezTo>
                      <a:pt x="198437" y="439738"/>
                      <a:pt x="198437" y="439738"/>
                      <a:pt x="198437" y="390525"/>
                    </a:cubicBezTo>
                    <a:close/>
                    <a:moveTo>
                      <a:pt x="17311" y="390525"/>
                    </a:moveTo>
                    <a:cubicBezTo>
                      <a:pt x="17311" y="390525"/>
                      <a:pt x="17311" y="390525"/>
                      <a:pt x="166687" y="390525"/>
                    </a:cubicBezTo>
                    <a:lnTo>
                      <a:pt x="166687" y="439738"/>
                    </a:lnTo>
                    <a:cubicBezTo>
                      <a:pt x="166687" y="439738"/>
                      <a:pt x="166687" y="439738"/>
                      <a:pt x="1587" y="439738"/>
                    </a:cubicBezTo>
                    <a:cubicBezTo>
                      <a:pt x="1587" y="439738"/>
                      <a:pt x="1587" y="439738"/>
                      <a:pt x="1587" y="406216"/>
                    </a:cubicBezTo>
                    <a:cubicBezTo>
                      <a:pt x="1587" y="397657"/>
                      <a:pt x="8734" y="390525"/>
                      <a:pt x="17311" y="390525"/>
                    </a:cubicBezTo>
                    <a:close/>
                    <a:moveTo>
                      <a:pt x="439737" y="0"/>
                    </a:moveTo>
                    <a:cubicBezTo>
                      <a:pt x="439737" y="0"/>
                      <a:pt x="439737" y="0"/>
                      <a:pt x="446857" y="0"/>
                    </a:cubicBezTo>
                    <a:lnTo>
                      <a:pt x="667568" y="0"/>
                    </a:lnTo>
                    <a:cubicBezTo>
                      <a:pt x="667568" y="0"/>
                      <a:pt x="667568" y="0"/>
                      <a:pt x="674687" y="0"/>
                    </a:cubicBezTo>
                    <a:cubicBezTo>
                      <a:pt x="674687" y="0"/>
                      <a:pt x="674687" y="6382"/>
                      <a:pt x="674687" y="30490"/>
                    </a:cubicBezTo>
                    <a:cubicBezTo>
                      <a:pt x="674687" y="58145"/>
                      <a:pt x="674687" y="109908"/>
                      <a:pt x="674687" y="204216"/>
                    </a:cubicBezTo>
                    <a:cubicBezTo>
                      <a:pt x="674687" y="207761"/>
                      <a:pt x="671839" y="209179"/>
                      <a:pt x="668991" y="209179"/>
                    </a:cubicBezTo>
                    <a:cubicBezTo>
                      <a:pt x="668280" y="209179"/>
                      <a:pt x="667568" y="209179"/>
                      <a:pt x="666144" y="208470"/>
                    </a:cubicBezTo>
                    <a:cubicBezTo>
                      <a:pt x="666144" y="208470"/>
                      <a:pt x="666144" y="208470"/>
                      <a:pt x="641225" y="194998"/>
                    </a:cubicBezTo>
                    <a:cubicBezTo>
                      <a:pt x="640513" y="194289"/>
                      <a:pt x="639801" y="194289"/>
                      <a:pt x="638377" y="194289"/>
                    </a:cubicBezTo>
                    <a:cubicBezTo>
                      <a:pt x="637665" y="194289"/>
                      <a:pt x="636241" y="194289"/>
                      <a:pt x="635529" y="194998"/>
                    </a:cubicBezTo>
                    <a:cubicBezTo>
                      <a:pt x="635529" y="194998"/>
                      <a:pt x="635529" y="194998"/>
                      <a:pt x="603490" y="212016"/>
                    </a:cubicBezTo>
                    <a:cubicBezTo>
                      <a:pt x="602778" y="212016"/>
                      <a:pt x="601354" y="212725"/>
                      <a:pt x="600642" y="212725"/>
                    </a:cubicBezTo>
                    <a:cubicBezTo>
                      <a:pt x="599930" y="212725"/>
                      <a:pt x="598506" y="212016"/>
                      <a:pt x="597795" y="212016"/>
                    </a:cubicBezTo>
                    <a:cubicBezTo>
                      <a:pt x="597795" y="212016"/>
                      <a:pt x="597795" y="212016"/>
                      <a:pt x="560060" y="194998"/>
                    </a:cubicBezTo>
                    <a:cubicBezTo>
                      <a:pt x="558636" y="194289"/>
                      <a:pt x="557924" y="194289"/>
                      <a:pt x="557212" y="194289"/>
                    </a:cubicBezTo>
                    <a:cubicBezTo>
                      <a:pt x="556500" y="194289"/>
                      <a:pt x="555076" y="194289"/>
                      <a:pt x="554364" y="194998"/>
                    </a:cubicBezTo>
                    <a:cubicBezTo>
                      <a:pt x="554364" y="194998"/>
                      <a:pt x="554364" y="194998"/>
                      <a:pt x="517342" y="212016"/>
                    </a:cubicBezTo>
                    <a:cubicBezTo>
                      <a:pt x="516630" y="212016"/>
                      <a:pt x="515918" y="212725"/>
                      <a:pt x="515206" y="212725"/>
                    </a:cubicBezTo>
                    <a:cubicBezTo>
                      <a:pt x="513782" y="212725"/>
                      <a:pt x="513070" y="212016"/>
                      <a:pt x="511646" y="212016"/>
                    </a:cubicBezTo>
                    <a:cubicBezTo>
                      <a:pt x="511646" y="212016"/>
                      <a:pt x="511646" y="212016"/>
                      <a:pt x="478896" y="194998"/>
                    </a:cubicBezTo>
                    <a:cubicBezTo>
                      <a:pt x="478896" y="194289"/>
                      <a:pt x="477472" y="194289"/>
                      <a:pt x="476760" y="194289"/>
                    </a:cubicBezTo>
                    <a:cubicBezTo>
                      <a:pt x="475336" y="194289"/>
                      <a:pt x="474624" y="194289"/>
                      <a:pt x="473912" y="194998"/>
                    </a:cubicBezTo>
                    <a:cubicBezTo>
                      <a:pt x="473912" y="194998"/>
                      <a:pt x="473912" y="194998"/>
                      <a:pt x="448281" y="208470"/>
                    </a:cubicBezTo>
                    <a:cubicBezTo>
                      <a:pt x="446857" y="209179"/>
                      <a:pt x="446145" y="209179"/>
                      <a:pt x="444721" y="209179"/>
                    </a:cubicBezTo>
                    <a:cubicBezTo>
                      <a:pt x="441873" y="209179"/>
                      <a:pt x="439737" y="207761"/>
                      <a:pt x="439737" y="204216"/>
                    </a:cubicBezTo>
                    <a:cubicBezTo>
                      <a:pt x="439737" y="204216"/>
                      <a:pt x="439737" y="204216"/>
                      <a:pt x="439737" y="30490"/>
                    </a:cubicBezTo>
                    <a:cubicBezTo>
                      <a:pt x="439737" y="30490"/>
                      <a:pt x="439737" y="30490"/>
                      <a:pt x="439737" y="0"/>
                    </a:cubicBezTo>
                    <a:close/>
                  </a:path>
                </a:pathLst>
              </a:custGeom>
              <a:solidFill>
                <a:srgbClr val="98A6C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pic>
        <p:nvPicPr>
          <p:cNvPr id="78" name="Picture 77"/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flipH="1">
            <a:off x="3888761" y="1577895"/>
            <a:ext cx="101852" cy="91003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72740" name="bcgIcons_SmartPhone"/>
          <p:cNvGrpSpPr>
            <a:grpSpLocks noChangeAspect="1"/>
          </p:cNvGrpSpPr>
          <p:nvPr/>
        </p:nvGrpSpPr>
        <p:grpSpPr bwMode="auto">
          <a:xfrm>
            <a:off x="6532563" y="2030413"/>
            <a:ext cx="457200" cy="457200"/>
            <a:chOff x="1682" y="0"/>
            <a:chExt cx="4316" cy="4320"/>
          </a:xfrm>
        </p:grpSpPr>
        <p:sp>
          <p:nvSpPr>
            <p:cNvPr id="72790" name="AutoShape 13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791" name="Freeform 15"/>
            <p:cNvSpPr>
              <a:spLocks noEditPoints="1"/>
            </p:cNvSpPr>
            <p:nvPr/>
          </p:nvSpPr>
          <p:spPr bwMode="auto">
            <a:xfrm>
              <a:off x="3087" y="726"/>
              <a:ext cx="1510" cy="2865"/>
            </a:xfrm>
            <a:custGeom>
              <a:avLst/>
              <a:gdLst>
                <a:gd name="T0" fmla="*/ 1469 w 806"/>
                <a:gd name="T1" fmla="*/ 0 h 1528"/>
                <a:gd name="T2" fmla="*/ 41 w 806"/>
                <a:gd name="T3" fmla="*/ 0 h 1528"/>
                <a:gd name="T4" fmla="*/ 0 w 806"/>
                <a:gd name="T5" fmla="*/ 41 h 1528"/>
                <a:gd name="T6" fmla="*/ 0 w 806"/>
                <a:gd name="T7" fmla="*/ 2348 h 1528"/>
                <a:gd name="T8" fmla="*/ 0 w 806"/>
                <a:gd name="T9" fmla="*/ 2430 h 1528"/>
                <a:gd name="T10" fmla="*/ 0 w 806"/>
                <a:gd name="T11" fmla="*/ 2824 h 1528"/>
                <a:gd name="T12" fmla="*/ 41 w 806"/>
                <a:gd name="T13" fmla="*/ 2865 h 1528"/>
                <a:gd name="T14" fmla="*/ 1469 w 806"/>
                <a:gd name="T15" fmla="*/ 2865 h 1528"/>
                <a:gd name="T16" fmla="*/ 1510 w 806"/>
                <a:gd name="T17" fmla="*/ 2824 h 1528"/>
                <a:gd name="T18" fmla="*/ 1510 w 806"/>
                <a:gd name="T19" fmla="*/ 2430 h 1528"/>
                <a:gd name="T20" fmla="*/ 1510 w 806"/>
                <a:gd name="T21" fmla="*/ 2348 h 1528"/>
                <a:gd name="T22" fmla="*/ 1510 w 806"/>
                <a:gd name="T23" fmla="*/ 41 h 1528"/>
                <a:gd name="T24" fmla="*/ 1469 w 806"/>
                <a:gd name="T25" fmla="*/ 0 h 1528"/>
                <a:gd name="T26" fmla="*/ 1428 w 806"/>
                <a:gd name="T27" fmla="*/ 2783 h 1528"/>
                <a:gd name="T28" fmla="*/ 82 w 806"/>
                <a:gd name="T29" fmla="*/ 2783 h 1528"/>
                <a:gd name="T30" fmla="*/ 82 w 806"/>
                <a:gd name="T31" fmla="*/ 2430 h 1528"/>
                <a:gd name="T32" fmla="*/ 1428 w 806"/>
                <a:gd name="T33" fmla="*/ 2430 h 1528"/>
                <a:gd name="T34" fmla="*/ 1428 w 806"/>
                <a:gd name="T35" fmla="*/ 2783 h 1528"/>
                <a:gd name="T36" fmla="*/ 82 w 806"/>
                <a:gd name="T37" fmla="*/ 2348 h 1528"/>
                <a:gd name="T38" fmla="*/ 82 w 806"/>
                <a:gd name="T39" fmla="*/ 83 h 1528"/>
                <a:gd name="T40" fmla="*/ 1428 w 806"/>
                <a:gd name="T41" fmla="*/ 83 h 1528"/>
                <a:gd name="T42" fmla="*/ 1428 w 806"/>
                <a:gd name="T43" fmla="*/ 2348 h 1528"/>
                <a:gd name="T44" fmla="*/ 82 w 806"/>
                <a:gd name="T45" fmla="*/ 2348 h 15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6"/>
                <a:gd name="T70" fmla="*/ 0 h 1528"/>
                <a:gd name="T71" fmla="*/ 806 w 806"/>
                <a:gd name="T72" fmla="*/ 1528 h 15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6" h="1528">
                  <a:moveTo>
                    <a:pt x="78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52"/>
                    <a:pt x="0" y="1252"/>
                    <a:pt x="0" y="1252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506"/>
                    <a:pt x="0" y="1506"/>
                    <a:pt x="0" y="1506"/>
                  </a:cubicBezTo>
                  <a:cubicBezTo>
                    <a:pt x="0" y="1518"/>
                    <a:pt x="10" y="1528"/>
                    <a:pt x="22" y="1528"/>
                  </a:cubicBezTo>
                  <a:cubicBezTo>
                    <a:pt x="784" y="1528"/>
                    <a:pt x="784" y="1528"/>
                    <a:pt x="784" y="1528"/>
                  </a:cubicBezTo>
                  <a:cubicBezTo>
                    <a:pt x="796" y="1528"/>
                    <a:pt x="806" y="1518"/>
                    <a:pt x="806" y="1506"/>
                  </a:cubicBezTo>
                  <a:cubicBezTo>
                    <a:pt x="806" y="1296"/>
                    <a:pt x="806" y="1296"/>
                    <a:pt x="806" y="1296"/>
                  </a:cubicBezTo>
                  <a:cubicBezTo>
                    <a:pt x="806" y="1252"/>
                    <a:pt x="806" y="1252"/>
                    <a:pt x="806" y="1252"/>
                  </a:cubicBezTo>
                  <a:cubicBezTo>
                    <a:pt x="806" y="22"/>
                    <a:pt x="806" y="22"/>
                    <a:pt x="806" y="22"/>
                  </a:cubicBezTo>
                  <a:cubicBezTo>
                    <a:pt x="806" y="10"/>
                    <a:pt x="796" y="0"/>
                    <a:pt x="784" y="0"/>
                  </a:cubicBezTo>
                  <a:close/>
                  <a:moveTo>
                    <a:pt x="762" y="1484"/>
                  </a:moveTo>
                  <a:cubicBezTo>
                    <a:pt x="44" y="1484"/>
                    <a:pt x="44" y="1484"/>
                    <a:pt x="44" y="1484"/>
                  </a:cubicBezTo>
                  <a:cubicBezTo>
                    <a:pt x="44" y="1296"/>
                    <a:pt x="44" y="1296"/>
                    <a:pt x="44" y="1296"/>
                  </a:cubicBezTo>
                  <a:cubicBezTo>
                    <a:pt x="762" y="1296"/>
                    <a:pt x="762" y="1296"/>
                    <a:pt x="762" y="1296"/>
                  </a:cubicBezTo>
                  <a:lnTo>
                    <a:pt x="762" y="1484"/>
                  </a:lnTo>
                  <a:close/>
                  <a:moveTo>
                    <a:pt x="44" y="1252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762" y="44"/>
                    <a:pt x="762" y="44"/>
                    <a:pt x="762" y="44"/>
                  </a:cubicBezTo>
                  <a:cubicBezTo>
                    <a:pt x="762" y="1252"/>
                    <a:pt x="762" y="1252"/>
                    <a:pt x="762" y="1252"/>
                  </a:cubicBezTo>
                  <a:lnTo>
                    <a:pt x="44" y="1252"/>
                  </a:lnTo>
                  <a:close/>
                </a:path>
              </a:pathLst>
            </a:custGeom>
            <a:solidFill>
              <a:srgbClr val="59595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792" name="Freeform 16"/>
            <p:cNvSpPr>
              <a:spLocks noEditPoints="1"/>
            </p:cNvSpPr>
            <p:nvPr/>
          </p:nvSpPr>
          <p:spPr bwMode="auto">
            <a:xfrm>
              <a:off x="3241" y="917"/>
              <a:ext cx="1195" cy="2512"/>
            </a:xfrm>
            <a:custGeom>
              <a:avLst/>
              <a:gdLst>
                <a:gd name="T0" fmla="*/ 601 w 638"/>
                <a:gd name="T1" fmla="*/ 2512 h 1340"/>
                <a:gd name="T2" fmla="*/ 493 w 638"/>
                <a:gd name="T3" fmla="*/ 2403 h 1340"/>
                <a:gd name="T4" fmla="*/ 601 w 638"/>
                <a:gd name="T5" fmla="*/ 2295 h 1340"/>
                <a:gd name="T6" fmla="*/ 710 w 638"/>
                <a:gd name="T7" fmla="*/ 2403 h 1340"/>
                <a:gd name="T8" fmla="*/ 601 w 638"/>
                <a:gd name="T9" fmla="*/ 2512 h 1340"/>
                <a:gd name="T10" fmla="*/ 1195 w 638"/>
                <a:gd name="T11" fmla="*/ 2047 h 1340"/>
                <a:gd name="T12" fmla="*/ 1195 w 638"/>
                <a:gd name="T13" fmla="*/ 216 h 1340"/>
                <a:gd name="T14" fmla="*/ 1176 w 638"/>
                <a:gd name="T15" fmla="*/ 197 h 1340"/>
                <a:gd name="T16" fmla="*/ 19 w 638"/>
                <a:gd name="T17" fmla="*/ 197 h 1340"/>
                <a:gd name="T18" fmla="*/ 0 w 638"/>
                <a:gd name="T19" fmla="*/ 216 h 1340"/>
                <a:gd name="T20" fmla="*/ 0 w 638"/>
                <a:gd name="T21" fmla="*/ 2047 h 1340"/>
                <a:gd name="T22" fmla="*/ 19 w 638"/>
                <a:gd name="T23" fmla="*/ 2066 h 1340"/>
                <a:gd name="T24" fmla="*/ 1176 w 638"/>
                <a:gd name="T25" fmla="*/ 2066 h 1340"/>
                <a:gd name="T26" fmla="*/ 1195 w 638"/>
                <a:gd name="T27" fmla="*/ 2047 h 1340"/>
                <a:gd name="T28" fmla="*/ 878 w 638"/>
                <a:gd name="T29" fmla="*/ 41 h 1340"/>
                <a:gd name="T30" fmla="*/ 837 w 638"/>
                <a:gd name="T31" fmla="*/ 0 h 1340"/>
                <a:gd name="T32" fmla="*/ 365 w 638"/>
                <a:gd name="T33" fmla="*/ 0 h 1340"/>
                <a:gd name="T34" fmla="*/ 324 w 638"/>
                <a:gd name="T35" fmla="*/ 41 h 1340"/>
                <a:gd name="T36" fmla="*/ 365 w 638"/>
                <a:gd name="T37" fmla="*/ 82 h 1340"/>
                <a:gd name="T38" fmla="*/ 837 w 638"/>
                <a:gd name="T39" fmla="*/ 82 h 1340"/>
                <a:gd name="T40" fmla="*/ 878 w 638"/>
                <a:gd name="T41" fmla="*/ 41 h 134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38"/>
                <a:gd name="T64" fmla="*/ 0 h 1340"/>
                <a:gd name="T65" fmla="*/ 638 w 638"/>
                <a:gd name="T66" fmla="*/ 1340 h 134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38" h="1340">
                  <a:moveTo>
                    <a:pt x="321" y="1340"/>
                  </a:moveTo>
                  <a:cubicBezTo>
                    <a:pt x="289" y="1340"/>
                    <a:pt x="263" y="1314"/>
                    <a:pt x="263" y="1282"/>
                  </a:cubicBezTo>
                  <a:cubicBezTo>
                    <a:pt x="263" y="1250"/>
                    <a:pt x="289" y="1224"/>
                    <a:pt x="321" y="1224"/>
                  </a:cubicBezTo>
                  <a:cubicBezTo>
                    <a:pt x="353" y="1224"/>
                    <a:pt x="379" y="1250"/>
                    <a:pt x="379" y="1282"/>
                  </a:cubicBezTo>
                  <a:cubicBezTo>
                    <a:pt x="379" y="1314"/>
                    <a:pt x="353" y="1340"/>
                    <a:pt x="321" y="1340"/>
                  </a:cubicBezTo>
                  <a:close/>
                  <a:moveTo>
                    <a:pt x="638" y="1092"/>
                  </a:moveTo>
                  <a:cubicBezTo>
                    <a:pt x="638" y="115"/>
                    <a:pt x="638" y="115"/>
                    <a:pt x="638" y="115"/>
                  </a:cubicBezTo>
                  <a:cubicBezTo>
                    <a:pt x="638" y="110"/>
                    <a:pt x="634" y="105"/>
                    <a:pt x="628" y="10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4" y="105"/>
                    <a:pt x="0" y="110"/>
                    <a:pt x="0" y="115"/>
                  </a:cubicBezTo>
                  <a:cubicBezTo>
                    <a:pt x="0" y="1092"/>
                    <a:pt x="0" y="1092"/>
                    <a:pt x="0" y="1092"/>
                  </a:cubicBezTo>
                  <a:cubicBezTo>
                    <a:pt x="0" y="1098"/>
                    <a:pt x="4" y="1102"/>
                    <a:pt x="10" y="1102"/>
                  </a:cubicBezTo>
                  <a:cubicBezTo>
                    <a:pt x="628" y="1102"/>
                    <a:pt x="628" y="1102"/>
                    <a:pt x="628" y="1102"/>
                  </a:cubicBezTo>
                  <a:cubicBezTo>
                    <a:pt x="634" y="1102"/>
                    <a:pt x="638" y="1098"/>
                    <a:pt x="638" y="1092"/>
                  </a:cubicBezTo>
                  <a:close/>
                  <a:moveTo>
                    <a:pt x="469" y="22"/>
                  </a:moveTo>
                  <a:cubicBezTo>
                    <a:pt x="469" y="10"/>
                    <a:pt x="459" y="0"/>
                    <a:pt x="447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83" y="0"/>
                    <a:pt x="173" y="10"/>
                    <a:pt x="173" y="22"/>
                  </a:cubicBezTo>
                  <a:cubicBezTo>
                    <a:pt x="173" y="34"/>
                    <a:pt x="183" y="44"/>
                    <a:pt x="195" y="44"/>
                  </a:cubicBezTo>
                  <a:cubicBezTo>
                    <a:pt x="447" y="44"/>
                    <a:pt x="447" y="44"/>
                    <a:pt x="447" y="44"/>
                  </a:cubicBezTo>
                  <a:cubicBezTo>
                    <a:pt x="459" y="44"/>
                    <a:pt x="469" y="34"/>
                    <a:pt x="469" y="22"/>
                  </a:cubicBez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cxnSp>
        <p:nvCxnSpPr>
          <p:cNvPr id="80" name="Straight Connector 79"/>
          <p:cNvCxnSpPr/>
          <p:nvPr/>
        </p:nvCxnSpPr>
        <p:spPr>
          <a:xfrm>
            <a:off x="3848100" y="1787525"/>
            <a:ext cx="0" cy="717550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576763" y="2633663"/>
            <a:ext cx="0" cy="28098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/>
        </p:nvCxnSpPr>
        <p:spPr>
          <a:xfrm flipH="1">
            <a:off x="5286375" y="2633663"/>
            <a:ext cx="4763" cy="28098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flipH="1">
            <a:off x="6022975" y="2279650"/>
            <a:ext cx="4763" cy="258763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 flipH="1">
            <a:off x="6750050" y="1912938"/>
            <a:ext cx="0" cy="128587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3905250" y="3409950"/>
            <a:ext cx="1042988" cy="538163"/>
          </a:xfrm>
          <a:prstGeom prst="line">
            <a:avLst/>
          </a:prstGeom>
          <a:ln w="19050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 flipV="1">
            <a:off x="4960938" y="2620963"/>
            <a:ext cx="2608262" cy="1322387"/>
          </a:xfrm>
          <a:prstGeom prst="line">
            <a:avLst/>
          </a:prstGeom>
          <a:ln w="19050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/>
          <p:nvPr/>
        </p:nvCxnSpPr>
        <p:spPr>
          <a:xfrm>
            <a:off x="3848100" y="2892425"/>
            <a:ext cx="0" cy="290513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4567238" y="3276600"/>
            <a:ext cx="0" cy="288925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5303838" y="3335338"/>
            <a:ext cx="0" cy="288925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6016625" y="2930525"/>
            <a:ext cx="0" cy="288925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6742113" y="2584450"/>
            <a:ext cx="0" cy="288925"/>
          </a:xfrm>
          <a:prstGeom prst="line">
            <a:avLst/>
          </a:prstGeom>
          <a:ln w="9525" cap="rnd" cmpd="sng" algn="ctr">
            <a:solidFill>
              <a:srgbClr val="58595B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/>
          <p:cNvSpPr txBox="1"/>
          <p:nvPr/>
        </p:nvSpPr>
        <p:spPr>
          <a:xfrm>
            <a:off x="6969125" y="3409950"/>
            <a:ext cx="2828925" cy="3683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200" dirty="0">
                <a:solidFill>
                  <a:srgbClr val="595959"/>
                </a:solidFill>
                <a:sym typeface="PT Sans Caption" panose="020B0603020203020204" pitchFamily="34" charset="0"/>
              </a:rPr>
              <a:t>Национальная система цифровой маркировки Честный ЗНАК</a:t>
            </a:r>
          </a:p>
        </p:txBody>
      </p:sp>
      <p:sp>
        <p:nvSpPr>
          <p:cNvPr id="72754" name="Oval 20"/>
          <p:cNvSpPr>
            <a:spLocks noChangeArrowheads="1"/>
          </p:cNvSpPr>
          <p:nvPr/>
        </p:nvSpPr>
        <p:spPr bwMode="auto">
          <a:xfrm>
            <a:off x="5921375" y="1897063"/>
            <a:ext cx="201613" cy="201612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4</a:t>
            </a:r>
          </a:p>
        </p:txBody>
      </p:sp>
      <p:sp>
        <p:nvSpPr>
          <p:cNvPr id="72755" name="Oval 20"/>
          <p:cNvSpPr>
            <a:spLocks noChangeArrowheads="1"/>
          </p:cNvSpPr>
          <p:nvPr/>
        </p:nvSpPr>
        <p:spPr bwMode="auto">
          <a:xfrm>
            <a:off x="6657975" y="1538288"/>
            <a:ext cx="200025" cy="201612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5</a:t>
            </a:r>
          </a:p>
        </p:txBody>
      </p:sp>
      <p:sp>
        <p:nvSpPr>
          <p:cNvPr id="72756" name="Oval 20"/>
          <p:cNvSpPr>
            <a:spLocks noChangeArrowheads="1"/>
          </p:cNvSpPr>
          <p:nvPr/>
        </p:nvSpPr>
        <p:spPr bwMode="auto">
          <a:xfrm>
            <a:off x="3748088" y="1893888"/>
            <a:ext cx="200025" cy="200025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1</a:t>
            </a:r>
          </a:p>
        </p:txBody>
      </p:sp>
      <p:sp>
        <p:nvSpPr>
          <p:cNvPr id="72757" name="Oval 20"/>
          <p:cNvSpPr>
            <a:spLocks noChangeArrowheads="1"/>
          </p:cNvSpPr>
          <p:nvPr/>
        </p:nvSpPr>
        <p:spPr bwMode="auto">
          <a:xfrm>
            <a:off x="4473575" y="2219325"/>
            <a:ext cx="201613" cy="201613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2</a:t>
            </a:r>
          </a:p>
        </p:txBody>
      </p:sp>
      <p:sp>
        <p:nvSpPr>
          <p:cNvPr id="72758" name="Oval 20"/>
          <p:cNvSpPr>
            <a:spLocks noChangeArrowheads="1"/>
          </p:cNvSpPr>
          <p:nvPr/>
        </p:nvSpPr>
        <p:spPr bwMode="auto">
          <a:xfrm>
            <a:off x="5200650" y="2235200"/>
            <a:ext cx="200025" cy="201613"/>
          </a:xfrm>
          <a:prstGeom prst="ellipse">
            <a:avLst/>
          </a:prstGeom>
          <a:solidFill>
            <a:srgbClr val="595959"/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bg-BG" sz="1000">
                <a:solidFill>
                  <a:srgbClr val="EBE60E"/>
                </a:solidFill>
                <a:latin typeface="PT Sans Caption"/>
                <a:sym typeface="PT Sans Caption"/>
              </a:rPr>
              <a:t>3</a:t>
            </a:r>
          </a:p>
        </p:txBody>
      </p:sp>
      <p:grpSp>
        <p:nvGrpSpPr>
          <p:cNvPr id="72759" name="bcgIcons_CashRegister"/>
          <p:cNvGrpSpPr>
            <a:grpSpLocks noChangeAspect="1"/>
          </p:cNvGrpSpPr>
          <p:nvPr/>
        </p:nvGrpSpPr>
        <p:grpSpPr bwMode="auto">
          <a:xfrm>
            <a:off x="5795963" y="2493963"/>
            <a:ext cx="457200" cy="457200"/>
            <a:chOff x="1682" y="0"/>
            <a:chExt cx="4316" cy="4320"/>
          </a:xfrm>
        </p:grpSpPr>
        <p:sp>
          <p:nvSpPr>
            <p:cNvPr id="72787" name="AutoShape 23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788" name="Freeform 25"/>
            <p:cNvSpPr>
              <a:spLocks noEditPoints="1"/>
            </p:cNvSpPr>
            <p:nvPr/>
          </p:nvSpPr>
          <p:spPr bwMode="auto">
            <a:xfrm>
              <a:off x="3008" y="844"/>
              <a:ext cx="1926" cy="1665"/>
            </a:xfrm>
            <a:custGeom>
              <a:avLst/>
              <a:gdLst>
                <a:gd name="T0" fmla="*/ 41 w 1028"/>
                <a:gd name="T1" fmla="*/ 971 h 888"/>
                <a:gd name="T2" fmla="*/ 41 w 1028"/>
                <a:gd name="T3" fmla="*/ 889 h 888"/>
                <a:gd name="T4" fmla="*/ 452 w 1028"/>
                <a:gd name="T5" fmla="*/ 930 h 888"/>
                <a:gd name="T6" fmla="*/ 452 w 1028"/>
                <a:gd name="T7" fmla="*/ 750 h 888"/>
                <a:gd name="T8" fmla="*/ 41 w 1028"/>
                <a:gd name="T9" fmla="*/ 709 h 888"/>
                <a:gd name="T10" fmla="*/ 41 w 1028"/>
                <a:gd name="T11" fmla="*/ 791 h 888"/>
                <a:gd name="T12" fmla="*/ 452 w 1028"/>
                <a:gd name="T13" fmla="*/ 750 h 888"/>
                <a:gd name="T14" fmla="*/ 410 w 1028"/>
                <a:gd name="T15" fmla="*/ 527 h 888"/>
                <a:gd name="T16" fmla="*/ 0 w 1028"/>
                <a:gd name="T17" fmla="*/ 568 h 888"/>
                <a:gd name="T18" fmla="*/ 410 w 1028"/>
                <a:gd name="T19" fmla="*/ 609 h 888"/>
                <a:gd name="T20" fmla="*/ 452 w 1028"/>
                <a:gd name="T21" fmla="*/ 388 h 888"/>
                <a:gd name="T22" fmla="*/ 41 w 1028"/>
                <a:gd name="T23" fmla="*/ 347 h 888"/>
                <a:gd name="T24" fmla="*/ 41 w 1028"/>
                <a:gd name="T25" fmla="*/ 429 h 888"/>
                <a:gd name="T26" fmla="*/ 452 w 1028"/>
                <a:gd name="T27" fmla="*/ 388 h 888"/>
                <a:gd name="T28" fmla="*/ 1926 w 1028"/>
                <a:gd name="T29" fmla="*/ 728 h 888"/>
                <a:gd name="T30" fmla="*/ 1038 w 1028"/>
                <a:gd name="T31" fmla="*/ 709 h 888"/>
                <a:gd name="T32" fmla="*/ 1019 w 1028"/>
                <a:gd name="T33" fmla="*/ 992 h 888"/>
                <a:gd name="T34" fmla="*/ 1907 w 1028"/>
                <a:gd name="T35" fmla="*/ 1011 h 888"/>
                <a:gd name="T36" fmla="*/ 1904 w 1028"/>
                <a:gd name="T37" fmla="*/ 255 h 888"/>
                <a:gd name="T38" fmla="*/ 1885 w 1028"/>
                <a:gd name="T39" fmla="*/ 0 h 888"/>
                <a:gd name="T40" fmla="*/ 1042 w 1028"/>
                <a:gd name="T41" fmla="*/ 19 h 888"/>
                <a:gd name="T42" fmla="*/ 1060 w 1028"/>
                <a:gd name="T43" fmla="*/ 274 h 888"/>
                <a:gd name="T44" fmla="*/ 1904 w 1028"/>
                <a:gd name="T45" fmla="*/ 255 h 888"/>
                <a:gd name="T46" fmla="*/ 1267 w 1028"/>
                <a:gd name="T47" fmla="*/ 1157 h 888"/>
                <a:gd name="T48" fmla="*/ 1113 w 1028"/>
                <a:gd name="T49" fmla="*/ 1116 h 888"/>
                <a:gd name="T50" fmla="*/ 1072 w 1028"/>
                <a:gd name="T51" fmla="*/ 1196 h 888"/>
                <a:gd name="T52" fmla="*/ 1225 w 1028"/>
                <a:gd name="T53" fmla="*/ 1238 h 888"/>
                <a:gd name="T54" fmla="*/ 1579 w 1028"/>
                <a:gd name="T55" fmla="*/ 1196 h 888"/>
                <a:gd name="T56" fmla="*/ 1538 w 1028"/>
                <a:gd name="T57" fmla="*/ 1116 h 888"/>
                <a:gd name="T58" fmla="*/ 1383 w 1028"/>
                <a:gd name="T59" fmla="*/ 1157 h 888"/>
                <a:gd name="T60" fmla="*/ 1424 w 1028"/>
                <a:gd name="T61" fmla="*/ 1238 h 888"/>
                <a:gd name="T62" fmla="*/ 1579 w 1028"/>
                <a:gd name="T63" fmla="*/ 1196 h 888"/>
                <a:gd name="T64" fmla="*/ 1267 w 1028"/>
                <a:gd name="T65" fmla="*/ 1371 h 888"/>
                <a:gd name="T66" fmla="*/ 1113 w 1028"/>
                <a:gd name="T67" fmla="*/ 1329 h 888"/>
                <a:gd name="T68" fmla="*/ 1072 w 1028"/>
                <a:gd name="T69" fmla="*/ 1410 h 888"/>
                <a:gd name="T70" fmla="*/ 1225 w 1028"/>
                <a:gd name="T71" fmla="*/ 1451 h 888"/>
                <a:gd name="T72" fmla="*/ 1579 w 1028"/>
                <a:gd name="T73" fmla="*/ 1410 h 888"/>
                <a:gd name="T74" fmla="*/ 1538 w 1028"/>
                <a:gd name="T75" fmla="*/ 1329 h 888"/>
                <a:gd name="T76" fmla="*/ 1383 w 1028"/>
                <a:gd name="T77" fmla="*/ 1371 h 888"/>
                <a:gd name="T78" fmla="*/ 1424 w 1028"/>
                <a:gd name="T79" fmla="*/ 1451 h 888"/>
                <a:gd name="T80" fmla="*/ 1579 w 1028"/>
                <a:gd name="T81" fmla="*/ 1410 h 888"/>
                <a:gd name="T82" fmla="*/ 1267 w 1028"/>
                <a:gd name="T83" fmla="*/ 1584 h 888"/>
                <a:gd name="T84" fmla="*/ 1113 w 1028"/>
                <a:gd name="T85" fmla="*/ 1543 h 888"/>
                <a:gd name="T86" fmla="*/ 1072 w 1028"/>
                <a:gd name="T87" fmla="*/ 1624 h 888"/>
                <a:gd name="T88" fmla="*/ 1225 w 1028"/>
                <a:gd name="T89" fmla="*/ 1665 h 888"/>
                <a:gd name="T90" fmla="*/ 1579 w 1028"/>
                <a:gd name="T91" fmla="*/ 1624 h 888"/>
                <a:gd name="T92" fmla="*/ 1538 w 1028"/>
                <a:gd name="T93" fmla="*/ 1543 h 888"/>
                <a:gd name="T94" fmla="*/ 1383 w 1028"/>
                <a:gd name="T95" fmla="*/ 1584 h 888"/>
                <a:gd name="T96" fmla="*/ 1424 w 1028"/>
                <a:gd name="T97" fmla="*/ 1665 h 888"/>
                <a:gd name="T98" fmla="*/ 1579 w 1028"/>
                <a:gd name="T99" fmla="*/ 1624 h 88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028"/>
                <a:gd name="T151" fmla="*/ 0 h 888"/>
                <a:gd name="T152" fmla="*/ 1028 w 1028"/>
                <a:gd name="T153" fmla="*/ 888 h 88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028" h="888">
                  <a:moveTo>
                    <a:pt x="219" y="518"/>
                  </a:moveTo>
                  <a:cubicBezTo>
                    <a:pt x="22" y="518"/>
                    <a:pt x="22" y="518"/>
                    <a:pt x="22" y="518"/>
                  </a:cubicBezTo>
                  <a:cubicBezTo>
                    <a:pt x="10" y="518"/>
                    <a:pt x="0" y="508"/>
                    <a:pt x="0" y="496"/>
                  </a:cubicBezTo>
                  <a:cubicBezTo>
                    <a:pt x="0" y="484"/>
                    <a:pt x="10" y="474"/>
                    <a:pt x="22" y="474"/>
                  </a:cubicBezTo>
                  <a:cubicBezTo>
                    <a:pt x="219" y="474"/>
                    <a:pt x="219" y="474"/>
                    <a:pt x="219" y="474"/>
                  </a:cubicBezTo>
                  <a:cubicBezTo>
                    <a:pt x="231" y="474"/>
                    <a:pt x="241" y="484"/>
                    <a:pt x="241" y="496"/>
                  </a:cubicBezTo>
                  <a:cubicBezTo>
                    <a:pt x="241" y="508"/>
                    <a:pt x="231" y="518"/>
                    <a:pt x="219" y="518"/>
                  </a:cubicBezTo>
                  <a:close/>
                  <a:moveTo>
                    <a:pt x="241" y="400"/>
                  </a:moveTo>
                  <a:cubicBezTo>
                    <a:pt x="241" y="388"/>
                    <a:pt x="231" y="378"/>
                    <a:pt x="219" y="378"/>
                  </a:cubicBezTo>
                  <a:cubicBezTo>
                    <a:pt x="22" y="378"/>
                    <a:pt x="22" y="378"/>
                    <a:pt x="22" y="378"/>
                  </a:cubicBezTo>
                  <a:cubicBezTo>
                    <a:pt x="10" y="378"/>
                    <a:pt x="0" y="388"/>
                    <a:pt x="0" y="400"/>
                  </a:cubicBezTo>
                  <a:cubicBezTo>
                    <a:pt x="0" y="412"/>
                    <a:pt x="10" y="422"/>
                    <a:pt x="22" y="422"/>
                  </a:cubicBezTo>
                  <a:cubicBezTo>
                    <a:pt x="219" y="422"/>
                    <a:pt x="219" y="422"/>
                    <a:pt x="219" y="422"/>
                  </a:cubicBezTo>
                  <a:cubicBezTo>
                    <a:pt x="231" y="422"/>
                    <a:pt x="241" y="412"/>
                    <a:pt x="241" y="400"/>
                  </a:cubicBezTo>
                  <a:close/>
                  <a:moveTo>
                    <a:pt x="241" y="303"/>
                  </a:moveTo>
                  <a:cubicBezTo>
                    <a:pt x="241" y="291"/>
                    <a:pt x="231" y="281"/>
                    <a:pt x="219" y="281"/>
                  </a:cubicBezTo>
                  <a:cubicBezTo>
                    <a:pt x="22" y="281"/>
                    <a:pt x="22" y="281"/>
                    <a:pt x="22" y="281"/>
                  </a:cubicBezTo>
                  <a:cubicBezTo>
                    <a:pt x="10" y="281"/>
                    <a:pt x="0" y="291"/>
                    <a:pt x="0" y="303"/>
                  </a:cubicBezTo>
                  <a:cubicBezTo>
                    <a:pt x="0" y="316"/>
                    <a:pt x="10" y="325"/>
                    <a:pt x="22" y="325"/>
                  </a:cubicBezTo>
                  <a:cubicBezTo>
                    <a:pt x="219" y="325"/>
                    <a:pt x="219" y="325"/>
                    <a:pt x="219" y="325"/>
                  </a:cubicBezTo>
                  <a:cubicBezTo>
                    <a:pt x="231" y="325"/>
                    <a:pt x="241" y="316"/>
                    <a:pt x="241" y="303"/>
                  </a:cubicBezTo>
                  <a:close/>
                  <a:moveTo>
                    <a:pt x="241" y="207"/>
                  </a:moveTo>
                  <a:cubicBezTo>
                    <a:pt x="241" y="195"/>
                    <a:pt x="231" y="185"/>
                    <a:pt x="219" y="185"/>
                  </a:cubicBezTo>
                  <a:cubicBezTo>
                    <a:pt x="22" y="185"/>
                    <a:pt x="22" y="185"/>
                    <a:pt x="22" y="185"/>
                  </a:cubicBezTo>
                  <a:cubicBezTo>
                    <a:pt x="10" y="185"/>
                    <a:pt x="0" y="195"/>
                    <a:pt x="0" y="207"/>
                  </a:cubicBezTo>
                  <a:cubicBezTo>
                    <a:pt x="0" y="219"/>
                    <a:pt x="10" y="229"/>
                    <a:pt x="22" y="229"/>
                  </a:cubicBezTo>
                  <a:cubicBezTo>
                    <a:pt x="219" y="229"/>
                    <a:pt x="219" y="229"/>
                    <a:pt x="219" y="229"/>
                  </a:cubicBezTo>
                  <a:cubicBezTo>
                    <a:pt x="231" y="229"/>
                    <a:pt x="241" y="219"/>
                    <a:pt x="241" y="207"/>
                  </a:cubicBezTo>
                  <a:close/>
                  <a:moveTo>
                    <a:pt x="1028" y="529"/>
                  </a:moveTo>
                  <a:cubicBezTo>
                    <a:pt x="1028" y="388"/>
                    <a:pt x="1028" y="388"/>
                    <a:pt x="1028" y="388"/>
                  </a:cubicBezTo>
                  <a:cubicBezTo>
                    <a:pt x="1028" y="382"/>
                    <a:pt x="1023" y="378"/>
                    <a:pt x="1018" y="378"/>
                  </a:cubicBezTo>
                  <a:cubicBezTo>
                    <a:pt x="554" y="378"/>
                    <a:pt x="554" y="378"/>
                    <a:pt x="554" y="378"/>
                  </a:cubicBezTo>
                  <a:cubicBezTo>
                    <a:pt x="549" y="378"/>
                    <a:pt x="544" y="382"/>
                    <a:pt x="544" y="388"/>
                  </a:cubicBezTo>
                  <a:cubicBezTo>
                    <a:pt x="544" y="529"/>
                    <a:pt x="544" y="529"/>
                    <a:pt x="544" y="529"/>
                  </a:cubicBezTo>
                  <a:cubicBezTo>
                    <a:pt x="544" y="535"/>
                    <a:pt x="549" y="539"/>
                    <a:pt x="554" y="539"/>
                  </a:cubicBezTo>
                  <a:cubicBezTo>
                    <a:pt x="1018" y="539"/>
                    <a:pt x="1018" y="539"/>
                    <a:pt x="1018" y="539"/>
                  </a:cubicBezTo>
                  <a:cubicBezTo>
                    <a:pt x="1023" y="539"/>
                    <a:pt x="1028" y="535"/>
                    <a:pt x="1028" y="529"/>
                  </a:cubicBezTo>
                  <a:close/>
                  <a:moveTo>
                    <a:pt x="1016" y="136"/>
                  </a:moveTo>
                  <a:cubicBezTo>
                    <a:pt x="1016" y="10"/>
                    <a:pt x="1016" y="10"/>
                    <a:pt x="1016" y="10"/>
                  </a:cubicBezTo>
                  <a:cubicBezTo>
                    <a:pt x="1016" y="4"/>
                    <a:pt x="1012" y="0"/>
                    <a:pt x="1006" y="0"/>
                  </a:cubicBezTo>
                  <a:cubicBezTo>
                    <a:pt x="566" y="0"/>
                    <a:pt x="566" y="0"/>
                    <a:pt x="566" y="0"/>
                  </a:cubicBezTo>
                  <a:cubicBezTo>
                    <a:pt x="560" y="0"/>
                    <a:pt x="556" y="4"/>
                    <a:pt x="556" y="10"/>
                  </a:cubicBezTo>
                  <a:cubicBezTo>
                    <a:pt x="556" y="136"/>
                    <a:pt x="556" y="136"/>
                    <a:pt x="556" y="136"/>
                  </a:cubicBezTo>
                  <a:cubicBezTo>
                    <a:pt x="556" y="142"/>
                    <a:pt x="560" y="146"/>
                    <a:pt x="566" y="146"/>
                  </a:cubicBezTo>
                  <a:cubicBezTo>
                    <a:pt x="1006" y="146"/>
                    <a:pt x="1006" y="146"/>
                    <a:pt x="1006" y="146"/>
                  </a:cubicBezTo>
                  <a:cubicBezTo>
                    <a:pt x="1012" y="146"/>
                    <a:pt x="1016" y="142"/>
                    <a:pt x="1016" y="136"/>
                  </a:cubicBezTo>
                  <a:close/>
                  <a:moveTo>
                    <a:pt x="676" y="638"/>
                  </a:moveTo>
                  <a:cubicBezTo>
                    <a:pt x="676" y="617"/>
                    <a:pt x="676" y="617"/>
                    <a:pt x="676" y="617"/>
                  </a:cubicBezTo>
                  <a:cubicBezTo>
                    <a:pt x="676" y="605"/>
                    <a:pt x="666" y="595"/>
                    <a:pt x="654" y="595"/>
                  </a:cubicBezTo>
                  <a:cubicBezTo>
                    <a:pt x="594" y="595"/>
                    <a:pt x="594" y="595"/>
                    <a:pt x="594" y="595"/>
                  </a:cubicBezTo>
                  <a:cubicBezTo>
                    <a:pt x="582" y="595"/>
                    <a:pt x="572" y="605"/>
                    <a:pt x="572" y="617"/>
                  </a:cubicBezTo>
                  <a:cubicBezTo>
                    <a:pt x="572" y="638"/>
                    <a:pt x="572" y="638"/>
                    <a:pt x="572" y="638"/>
                  </a:cubicBezTo>
                  <a:cubicBezTo>
                    <a:pt x="572" y="650"/>
                    <a:pt x="582" y="660"/>
                    <a:pt x="594" y="660"/>
                  </a:cubicBezTo>
                  <a:cubicBezTo>
                    <a:pt x="654" y="660"/>
                    <a:pt x="654" y="660"/>
                    <a:pt x="654" y="660"/>
                  </a:cubicBezTo>
                  <a:cubicBezTo>
                    <a:pt x="666" y="660"/>
                    <a:pt x="676" y="650"/>
                    <a:pt x="676" y="638"/>
                  </a:cubicBezTo>
                  <a:close/>
                  <a:moveTo>
                    <a:pt x="843" y="638"/>
                  </a:moveTo>
                  <a:cubicBezTo>
                    <a:pt x="843" y="617"/>
                    <a:pt x="843" y="617"/>
                    <a:pt x="843" y="617"/>
                  </a:cubicBezTo>
                  <a:cubicBezTo>
                    <a:pt x="843" y="605"/>
                    <a:pt x="833" y="595"/>
                    <a:pt x="821" y="595"/>
                  </a:cubicBezTo>
                  <a:cubicBezTo>
                    <a:pt x="760" y="595"/>
                    <a:pt x="760" y="595"/>
                    <a:pt x="760" y="595"/>
                  </a:cubicBezTo>
                  <a:cubicBezTo>
                    <a:pt x="748" y="595"/>
                    <a:pt x="738" y="605"/>
                    <a:pt x="738" y="617"/>
                  </a:cubicBezTo>
                  <a:cubicBezTo>
                    <a:pt x="738" y="638"/>
                    <a:pt x="738" y="638"/>
                    <a:pt x="738" y="638"/>
                  </a:cubicBezTo>
                  <a:cubicBezTo>
                    <a:pt x="738" y="650"/>
                    <a:pt x="748" y="660"/>
                    <a:pt x="760" y="660"/>
                  </a:cubicBezTo>
                  <a:cubicBezTo>
                    <a:pt x="821" y="660"/>
                    <a:pt x="821" y="660"/>
                    <a:pt x="821" y="660"/>
                  </a:cubicBezTo>
                  <a:cubicBezTo>
                    <a:pt x="833" y="660"/>
                    <a:pt x="843" y="650"/>
                    <a:pt x="843" y="638"/>
                  </a:cubicBezTo>
                  <a:close/>
                  <a:moveTo>
                    <a:pt x="676" y="752"/>
                  </a:moveTo>
                  <a:cubicBezTo>
                    <a:pt x="676" y="731"/>
                    <a:pt x="676" y="731"/>
                    <a:pt x="676" y="731"/>
                  </a:cubicBezTo>
                  <a:cubicBezTo>
                    <a:pt x="676" y="719"/>
                    <a:pt x="666" y="709"/>
                    <a:pt x="654" y="709"/>
                  </a:cubicBezTo>
                  <a:cubicBezTo>
                    <a:pt x="594" y="709"/>
                    <a:pt x="594" y="709"/>
                    <a:pt x="594" y="709"/>
                  </a:cubicBezTo>
                  <a:cubicBezTo>
                    <a:pt x="582" y="709"/>
                    <a:pt x="572" y="719"/>
                    <a:pt x="572" y="731"/>
                  </a:cubicBezTo>
                  <a:cubicBezTo>
                    <a:pt x="572" y="752"/>
                    <a:pt x="572" y="752"/>
                    <a:pt x="572" y="752"/>
                  </a:cubicBezTo>
                  <a:cubicBezTo>
                    <a:pt x="572" y="764"/>
                    <a:pt x="582" y="774"/>
                    <a:pt x="594" y="774"/>
                  </a:cubicBezTo>
                  <a:cubicBezTo>
                    <a:pt x="654" y="774"/>
                    <a:pt x="654" y="774"/>
                    <a:pt x="654" y="774"/>
                  </a:cubicBezTo>
                  <a:cubicBezTo>
                    <a:pt x="666" y="774"/>
                    <a:pt x="676" y="764"/>
                    <a:pt x="676" y="752"/>
                  </a:cubicBezTo>
                  <a:close/>
                  <a:moveTo>
                    <a:pt x="843" y="752"/>
                  </a:moveTo>
                  <a:cubicBezTo>
                    <a:pt x="843" y="731"/>
                    <a:pt x="843" y="731"/>
                    <a:pt x="843" y="731"/>
                  </a:cubicBezTo>
                  <a:cubicBezTo>
                    <a:pt x="843" y="719"/>
                    <a:pt x="833" y="709"/>
                    <a:pt x="821" y="709"/>
                  </a:cubicBezTo>
                  <a:cubicBezTo>
                    <a:pt x="760" y="709"/>
                    <a:pt x="760" y="709"/>
                    <a:pt x="760" y="709"/>
                  </a:cubicBezTo>
                  <a:cubicBezTo>
                    <a:pt x="748" y="709"/>
                    <a:pt x="738" y="719"/>
                    <a:pt x="738" y="731"/>
                  </a:cubicBezTo>
                  <a:cubicBezTo>
                    <a:pt x="738" y="752"/>
                    <a:pt x="738" y="752"/>
                    <a:pt x="738" y="752"/>
                  </a:cubicBezTo>
                  <a:cubicBezTo>
                    <a:pt x="738" y="764"/>
                    <a:pt x="748" y="774"/>
                    <a:pt x="760" y="774"/>
                  </a:cubicBezTo>
                  <a:cubicBezTo>
                    <a:pt x="821" y="774"/>
                    <a:pt x="821" y="774"/>
                    <a:pt x="821" y="774"/>
                  </a:cubicBezTo>
                  <a:cubicBezTo>
                    <a:pt x="833" y="774"/>
                    <a:pt x="843" y="764"/>
                    <a:pt x="843" y="752"/>
                  </a:cubicBezTo>
                  <a:close/>
                  <a:moveTo>
                    <a:pt x="676" y="866"/>
                  </a:moveTo>
                  <a:cubicBezTo>
                    <a:pt x="676" y="845"/>
                    <a:pt x="676" y="845"/>
                    <a:pt x="676" y="845"/>
                  </a:cubicBezTo>
                  <a:cubicBezTo>
                    <a:pt x="676" y="833"/>
                    <a:pt x="666" y="823"/>
                    <a:pt x="654" y="823"/>
                  </a:cubicBezTo>
                  <a:cubicBezTo>
                    <a:pt x="594" y="823"/>
                    <a:pt x="594" y="823"/>
                    <a:pt x="594" y="823"/>
                  </a:cubicBezTo>
                  <a:cubicBezTo>
                    <a:pt x="582" y="823"/>
                    <a:pt x="572" y="833"/>
                    <a:pt x="572" y="845"/>
                  </a:cubicBezTo>
                  <a:cubicBezTo>
                    <a:pt x="572" y="866"/>
                    <a:pt x="572" y="866"/>
                    <a:pt x="572" y="866"/>
                  </a:cubicBezTo>
                  <a:cubicBezTo>
                    <a:pt x="572" y="878"/>
                    <a:pt x="582" y="888"/>
                    <a:pt x="594" y="888"/>
                  </a:cubicBezTo>
                  <a:cubicBezTo>
                    <a:pt x="654" y="888"/>
                    <a:pt x="654" y="888"/>
                    <a:pt x="654" y="888"/>
                  </a:cubicBezTo>
                  <a:cubicBezTo>
                    <a:pt x="666" y="888"/>
                    <a:pt x="676" y="878"/>
                    <a:pt x="676" y="866"/>
                  </a:cubicBezTo>
                  <a:close/>
                  <a:moveTo>
                    <a:pt x="843" y="866"/>
                  </a:moveTo>
                  <a:cubicBezTo>
                    <a:pt x="843" y="845"/>
                    <a:pt x="843" y="845"/>
                    <a:pt x="843" y="845"/>
                  </a:cubicBezTo>
                  <a:cubicBezTo>
                    <a:pt x="843" y="833"/>
                    <a:pt x="833" y="823"/>
                    <a:pt x="821" y="823"/>
                  </a:cubicBezTo>
                  <a:cubicBezTo>
                    <a:pt x="760" y="823"/>
                    <a:pt x="760" y="823"/>
                    <a:pt x="760" y="823"/>
                  </a:cubicBezTo>
                  <a:cubicBezTo>
                    <a:pt x="748" y="823"/>
                    <a:pt x="738" y="833"/>
                    <a:pt x="738" y="845"/>
                  </a:cubicBezTo>
                  <a:cubicBezTo>
                    <a:pt x="738" y="866"/>
                    <a:pt x="738" y="866"/>
                    <a:pt x="738" y="866"/>
                  </a:cubicBezTo>
                  <a:cubicBezTo>
                    <a:pt x="738" y="878"/>
                    <a:pt x="748" y="888"/>
                    <a:pt x="760" y="888"/>
                  </a:cubicBezTo>
                  <a:cubicBezTo>
                    <a:pt x="821" y="888"/>
                    <a:pt x="821" y="888"/>
                    <a:pt x="821" y="888"/>
                  </a:cubicBezTo>
                  <a:cubicBezTo>
                    <a:pt x="833" y="888"/>
                    <a:pt x="843" y="878"/>
                    <a:pt x="843" y="866"/>
                  </a:cubicBez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2789" name="Freeform 26"/>
            <p:cNvSpPr>
              <a:spLocks noEditPoints="1"/>
            </p:cNvSpPr>
            <p:nvPr/>
          </p:nvSpPr>
          <p:spPr bwMode="auto">
            <a:xfrm>
              <a:off x="2148" y="711"/>
              <a:ext cx="3380" cy="2885"/>
            </a:xfrm>
            <a:custGeom>
              <a:avLst/>
              <a:gdLst>
                <a:gd name="T0" fmla="*/ 43 w 1804"/>
                <a:gd name="T1" fmla="*/ 2208 h 1539"/>
                <a:gd name="T2" fmla="*/ 2 w 1804"/>
                <a:gd name="T3" fmla="*/ 2844 h 1539"/>
                <a:gd name="T4" fmla="*/ 3337 w 1804"/>
                <a:gd name="T5" fmla="*/ 2885 h 1539"/>
                <a:gd name="T6" fmla="*/ 3378 w 1804"/>
                <a:gd name="T7" fmla="*/ 2250 h 1539"/>
                <a:gd name="T8" fmla="*/ 1690 w 1804"/>
                <a:gd name="T9" fmla="*/ 2649 h 1539"/>
                <a:gd name="T10" fmla="*/ 1690 w 1804"/>
                <a:gd name="T11" fmla="*/ 2443 h 1539"/>
                <a:gd name="T12" fmla="*/ 1690 w 1804"/>
                <a:gd name="T13" fmla="*/ 2649 h 1539"/>
                <a:gd name="T14" fmla="*/ 3155 w 1804"/>
                <a:gd name="T15" fmla="*/ 1134 h 1539"/>
                <a:gd name="T16" fmla="*/ 3114 w 1804"/>
                <a:gd name="T17" fmla="*/ 598 h 1539"/>
                <a:gd name="T18" fmla="*/ 2539 w 1804"/>
                <a:gd name="T19" fmla="*/ 540 h 1539"/>
                <a:gd name="T20" fmla="*/ 2898 w 1804"/>
                <a:gd name="T21" fmla="*/ 499 h 1539"/>
                <a:gd name="T22" fmla="*/ 2857 w 1804"/>
                <a:gd name="T23" fmla="*/ 0 h 1539"/>
                <a:gd name="T24" fmla="*/ 1767 w 1804"/>
                <a:gd name="T25" fmla="*/ 41 h 1539"/>
                <a:gd name="T26" fmla="*/ 1808 w 1804"/>
                <a:gd name="T27" fmla="*/ 540 h 1539"/>
                <a:gd name="T28" fmla="*/ 2127 w 1804"/>
                <a:gd name="T29" fmla="*/ 598 h 1539"/>
                <a:gd name="T30" fmla="*/ 1551 w 1804"/>
                <a:gd name="T31" fmla="*/ 680 h 1539"/>
                <a:gd name="T32" fmla="*/ 3073 w 1804"/>
                <a:gd name="T33" fmla="*/ 1140 h 1539"/>
                <a:gd name="T34" fmla="*/ 3298 w 1804"/>
                <a:gd name="T35" fmla="*/ 1835 h 1539"/>
                <a:gd name="T36" fmla="*/ 82 w 1804"/>
                <a:gd name="T37" fmla="*/ 2068 h 1539"/>
                <a:gd name="T38" fmla="*/ 305 w 1804"/>
                <a:gd name="T39" fmla="*/ 1153 h 1539"/>
                <a:gd name="T40" fmla="*/ 307 w 1804"/>
                <a:gd name="T41" fmla="*/ 680 h 1539"/>
                <a:gd name="T42" fmla="*/ 620 w 1804"/>
                <a:gd name="T43" fmla="*/ 598 h 1539"/>
                <a:gd name="T44" fmla="*/ 225 w 1804"/>
                <a:gd name="T45" fmla="*/ 639 h 1539"/>
                <a:gd name="T46" fmla="*/ 2 w 1804"/>
                <a:gd name="T47" fmla="*/ 1816 h 1539"/>
                <a:gd name="T48" fmla="*/ 0 w 1804"/>
                <a:gd name="T49" fmla="*/ 2109 h 1539"/>
                <a:gd name="T50" fmla="*/ 3339 w 1804"/>
                <a:gd name="T51" fmla="*/ 2150 h 1539"/>
                <a:gd name="T52" fmla="*/ 3380 w 1804"/>
                <a:gd name="T53" fmla="*/ 1830 h 1539"/>
                <a:gd name="T54" fmla="*/ 1849 w 1804"/>
                <a:gd name="T55" fmla="*/ 82 h 1539"/>
                <a:gd name="T56" fmla="*/ 2816 w 1804"/>
                <a:gd name="T57" fmla="*/ 457 h 1539"/>
                <a:gd name="T58" fmla="*/ 1849 w 1804"/>
                <a:gd name="T59" fmla="*/ 82 h 1539"/>
                <a:gd name="T60" fmla="*/ 1551 w 1804"/>
                <a:gd name="T61" fmla="*/ 1217 h 1539"/>
                <a:gd name="T62" fmla="*/ 1536 w 1804"/>
                <a:gd name="T63" fmla="*/ 1273 h 1539"/>
                <a:gd name="T64" fmla="*/ 1469 w 1804"/>
                <a:gd name="T65" fmla="*/ 270 h 1539"/>
                <a:gd name="T66" fmla="*/ 744 w 1804"/>
                <a:gd name="T67" fmla="*/ 229 h 1539"/>
                <a:gd name="T68" fmla="*/ 703 w 1804"/>
                <a:gd name="T69" fmla="*/ 1273 h 1539"/>
                <a:gd name="T70" fmla="*/ 605 w 1804"/>
                <a:gd name="T71" fmla="*/ 1243 h 1539"/>
                <a:gd name="T72" fmla="*/ 620 w 1804"/>
                <a:gd name="T73" fmla="*/ 1132 h 1539"/>
                <a:gd name="T74" fmla="*/ 635 w 1804"/>
                <a:gd name="T75" fmla="*/ 1355 h 1539"/>
                <a:gd name="T76" fmla="*/ 1428 w 1804"/>
                <a:gd name="T77" fmla="*/ 1355 h 1539"/>
                <a:gd name="T78" fmla="*/ 1649 w 1804"/>
                <a:gd name="T79" fmla="*/ 1243 h 1539"/>
                <a:gd name="T80" fmla="*/ 1386 w 1804"/>
                <a:gd name="T81" fmla="*/ 1273 h 1539"/>
                <a:gd name="T82" fmla="*/ 785 w 1804"/>
                <a:gd name="T83" fmla="*/ 311 h 1539"/>
                <a:gd name="T84" fmla="*/ 1386 w 1804"/>
                <a:gd name="T85" fmla="*/ 1273 h 15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04"/>
                <a:gd name="T130" fmla="*/ 0 h 1539"/>
                <a:gd name="T131" fmla="*/ 1804 w 1804"/>
                <a:gd name="T132" fmla="*/ 1539 h 15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04" h="1539">
                  <a:moveTo>
                    <a:pt x="1781" y="1178"/>
                  </a:moveTo>
                  <a:cubicBezTo>
                    <a:pt x="23" y="1178"/>
                    <a:pt x="23" y="1178"/>
                    <a:pt x="23" y="1178"/>
                  </a:cubicBezTo>
                  <a:cubicBezTo>
                    <a:pt x="11" y="1178"/>
                    <a:pt x="1" y="1188"/>
                    <a:pt x="1" y="1200"/>
                  </a:cubicBezTo>
                  <a:cubicBezTo>
                    <a:pt x="1" y="1517"/>
                    <a:pt x="1" y="1517"/>
                    <a:pt x="1" y="1517"/>
                  </a:cubicBezTo>
                  <a:cubicBezTo>
                    <a:pt x="1" y="1529"/>
                    <a:pt x="11" y="1539"/>
                    <a:pt x="23" y="1539"/>
                  </a:cubicBezTo>
                  <a:cubicBezTo>
                    <a:pt x="1781" y="1539"/>
                    <a:pt x="1781" y="1539"/>
                    <a:pt x="1781" y="1539"/>
                  </a:cubicBezTo>
                  <a:cubicBezTo>
                    <a:pt x="1793" y="1539"/>
                    <a:pt x="1803" y="1529"/>
                    <a:pt x="1803" y="1517"/>
                  </a:cubicBezTo>
                  <a:cubicBezTo>
                    <a:pt x="1803" y="1200"/>
                    <a:pt x="1803" y="1200"/>
                    <a:pt x="1803" y="1200"/>
                  </a:cubicBezTo>
                  <a:cubicBezTo>
                    <a:pt x="1803" y="1188"/>
                    <a:pt x="1793" y="1178"/>
                    <a:pt x="1781" y="1178"/>
                  </a:cubicBezTo>
                  <a:close/>
                  <a:moveTo>
                    <a:pt x="902" y="1413"/>
                  </a:moveTo>
                  <a:cubicBezTo>
                    <a:pt x="872" y="1413"/>
                    <a:pt x="847" y="1389"/>
                    <a:pt x="847" y="1358"/>
                  </a:cubicBezTo>
                  <a:cubicBezTo>
                    <a:pt x="847" y="1328"/>
                    <a:pt x="872" y="1303"/>
                    <a:pt x="902" y="1303"/>
                  </a:cubicBezTo>
                  <a:cubicBezTo>
                    <a:pt x="932" y="1303"/>
                    <a:pt x="957" y="1328"/>
                    <a:pt x="957" y="1358"/>
                  </a:cubicBezTo>
                  <a:cubicBezTo>
                    <a:pt x="957" y="1389"/>
                    <a:pt x="932" y="1413"/>
                    <a:pt x="902" y="1413"/>
                  </a:cubicBezTo>
                  <a:close/>
                  <a:moveTo>
                    <a:pt x="1803" y="969"/>
                  </a:moveTo>
                  <a:cubicBezTo>
                    <a:pt x="1684" y="605"/>
                    <a:pt x="1684" y="605"/>
                    <a:pt x="1684" y="605"/>
                  </a:cubicBezTo>
                  <a:cubicBezTo>
                    <a:pt x="1684" y="341"/>
                    <a:pt x="1684" y="341"/>
                    <a:pt x="1684" y="341"/>
                  </a:cubicBezTo>
                  <a:cubicBezTo>
                    <a:pt x="1684" y="329"/>
                    <a:pt x="1674" y="319"/>
                    <a:pt x="1662" y="319"/>
                  </a:cubicBezTo>
                  <a:cubicBezTo>
                    <a:pt x="1355" y="319"/>
                    <a:pt x="1355" y="319"/>
                    <a:pt x="1355" y="319"/>
                  </a:cubicBezTo>
                  <a:cubicBezTo>
                    <a:pt x="1355" y="288"/>
                    <a:pt x="1355" y="288"/>
                    <a:pt x="1355" y="288"/>
                  </a:cubicBezTo>
                  <a:cubicBezTo>
                    <a:pt x="1525" y="288"/>
                    <a:pt x="1525" y="288"/>
                    <a:pt x="1525" y="288"/>
                  </a:cubicBezTo>
                  <a:cubicBezTo>
                    <a:pt x="1537" y="288"/>
                    <a:pt x="1547" y="278"/>
                    <a:pt x="1547" y="266"/>
                  </a:cubicBezTo>
                  <a:cubicBezTo>
                    <a:pt x="1547" y="22"/>
                    <a:pt x="1547" y="22"/>
                    <a:pt x="1547" y="22"/>
                  </a:cubicBezTo>
                  <a:cubicBezTo>
                    <a:pt x="1547" y="10"/>
                    <a:pt x="1537" y="0"/>
                    <a:pt x="1525" y="0"/>
                  </a:cubicBezTo>
                  <a:cubicBezTo>
                    <a:pt x="965" y="0"/>
                    <a:pt x="965" y="0"/>
                    <a:pt x="965" y="0"/>
                  </a:cubicBezTo>
                  <a:cubicBezTo>
                    <a:pt x="953" y="0"/>
                    <a:pt x="943" y="10"/>
                    <a:pt x="943" y="22"/>
                  </a:cubicBezTo>
                  <a:cubicBezTo>
                    <a:pt x="943" y="266"/>
                    <a:pt x="943" y="266"/>
                    <a:pt x="943" y="266"/>
                  </a:cubicBezTo>
                  <a:cubicBezTo>
                    <a:pt x="943" y="278"/>
                    <a:pt x="953" y="288"/>
                    <a:pt x="965" y="288"/>
                  </a:cubicBezTo>
                  <a:cubicBezTo>
                    <a:pt x="1135" y="288"/>
                    <a:pt x="1135" y="288"/>
                    <a:pt x="1135" y="288"/>
                  </a:cubicBezTo>
                  <a:cubicBezTo>
                    <a:pt x="1135" y="319"/>
                    <a:pt x="1135" y="319"/>
                    <a:pt x="1135" y="319"/>
                  </a:cubicBezTo>
                  <a:cubicBezTo>
                    <a:pt x="828" y="319"/>
                    <a:pt x="828" y="319"/>
                    <a:pt x="828" y="319"/>
                  </a:cubicBezTo>
                  <a:cubicBezTo>
                    <a:pt x="828" y="363"/>
                    <a:pt x="828" y="363"/>
                    <a:pt x="828" y="363"/>
                  </a:cubicBezTo>
                  <a:cubicBezTo>
                    <a:pt x="1640" y="363"/>
                    <a:pt x="1640" y="363"/>
                    <a:pt x="1640" y="363"/>
                  </a:cubicBezTo>
                  <a:cubicBezTo>
                    <a:pt x="1640" y="608"/>
                    <a:pt x="1640" y="608"/>
                    <a:pt x="1640" y="608"/>
                  </a:cubicBezTo>
                  <a:cubicBezTo>
                    <a:pt x="1640" y="610"/>
                    <a:pt x="1640" y="613"/>
                    <a:pt x="1641" y="615"/>
                  </a:cubicBezTo>
                  <a:cubicBezTo>
                    <a:pt x="1760" y="979"/>
                    <a:pt x="1760" y="979"/>
                    <a:pt x="1760" y="979"/>
                  </a:cubicBezTo>
                  <a:cubicBezTo>
                    <a:pt x="1760" y="1103"/>
                    <a:pt x="1760" y="1103"/>
                    <a:pt x="1760" y="1103"/>
                  </a:cubicBezTo>
                  <a:cubicBezTo>
                    <a:pt x="44" y="1103"/>
                    <a:pt x="44" y="1103"/>
                    <a:pt x="44" y="1103"/>
                  </a:cubicBezTo>
                  <a:cubicBezTo>
                    <a:pt x="44" y="979"/>
                    <a:pt x="44" y="979"/>
                    <a:pt x="44" y="979"/>
                  </a:cubicBezTo>
                  <a:cubicBezTo>
                    <a:pt x="163" y="615"/>
                    <a:pt x="163" y="615"/>
                    <a:pt x="163" y="615"/>
                  </a:cubicBezTo>
                  <a:cubicBezTo>
                    <a:pt x="164" y="613"/>
                    <a:pt x="164" y="610"/>
                    <a:pt x="164" y="608"/>
                  </a:cubicBezTo>
                  <a:cubicBezTo>
                    <a:pt x="164" y="363"/>
                    <a:pt x="164" y="363"/>
                    <a:pt x="164" y="363"/>
                  </a:cubicBezTo>
                  <a:cubicBezTo>
                    <a:pt x="331" y="363"/>
                    <a:pt x="331" y="363"/>
                    <a:pt x="331" y="363"/>
                  </a:cubicBezTo>
                  <a:cubicBezTo>
                    <a:pt x="331" y="319"/>
                    <a:pt x="331" y="319"/>
                    <a:pt x="331" y="319"/>
                  </a:cubicBezTo>
                  <a:cubicBezTo>
                    <a:pt x="142" y="319"/>
                    <a:pt x="142" y="319"/>
                    <a:pt x="142" y="319"/>
                  </a:cubicBezTo>
                  <a:cubicBezTo>
                    <a:pt x="130" y="319"/>
                    <a:pt x="120" y="329"/>
                    <a:pt x="120" y="341"/>
                  </a:cubicBezTo>
                  <a:cubicBezTo>
                    <a:pt x="120" y="605"/>
                    <a:pt x="120" y="605"/>
                    <a:pt x="120" y="605"/>
                  </a:cubicBezTo>
                  <a:cubicBezTo>
                    <a:pt x="1" y="969"/>
                    <a:pt x="1" y="969"/>
                    <a:pt x="1" y="969"/>
                  </a:cubicBezTo>
                  <a:cubicBezTo>
                    <a:pt x="0" y="971"/>
                    <a:pt x="0" y="974"/>
                    <a:pt x="0" y="976"/>
                  </a:cubicBezTo>
                  <a:cubicBezTo>
                    <a:pt x="0" y="1125"/>
                    <a:pt x="0" y="1125"/>
                    <a:pt x="0" y="1125"/>
                  </a:cubicBezTo>
                  <a:cubicBezTo>
                    <a:pt x="0" y="1137"/>
                    <a:pt x="10" y="1147"/>
                    <a:pt x="22" y="1147"/>
                  </a:cubicBezTo>
                  <a:cubicBezTo>
                    <a:pt x="1782" y="1147"/>
                    <a:pt x="1782" y="1147"/>
                    <a:pt x="1782" y="1147"/>
                  </a:cubicBezTo>
                  <a:cubicBezTo>
                    <a:pt x="1794" y="1147"/>
                    <a:pt x="1804" y="1137"/>
                    <a:pt x="1804" y="1125"/>
                  </a:cubicBezTo>
                  <a:cubicBezTo>
                    <a:pt x="1804" y="976"/>
                    <a:pt x="1804" y="976"/>
                    <a:pt x="1804" y="976"/>
                  </a:cubicBezTo>
                  <a:cubicBezTo>
                    <a:pt x="1804" y="974"/>
                    <a:pt x="1804" y="971"/>
                    <a:pt x="1803" y="969"/>
                  </a:cubicBezTo>
                  <a:close/>
                  <a:moveTo>
                    <a:pt x="987" y="44"/>
                  </a:moveTo>
                  <a:cubicBezTo>
                    <a:pt x="1503" y="44"/>
                    <a:pt x="1503" y="44"/>
                    <a:pt x="1503" y="44"/>
                  </a:cubicBezTo>
                  <a:cubicBezTo>
                    <a:pt x="1503" y="244"/>
                    <a:pt x="1503" y="244"/>
                    <a:pt x="1503" y="244"/>
                  </a:cubicBezTo>
                  <a:cubicBezTo>
                    <a:pt x="987" y="244"/>
                    <a:pt x="987" y="244"/>
                    <a:pt x="987" y="244"/>
                  </a:cubicBezTo>
                  <a:lnTo>
                    <a:pt x="987" y="44"/>
                  </a:lnTo>
                  <a:close/>
                  <a:moveTo>
                    <a:pt x="828" y="604"/>
                  </a:moveTo>
                  <a:cubicBezTo>
                    <a:pt x="828" y="649"/>
                    <a:pt x="828" y="649"/>
                    <a:pt x="828" y="649"/>
                  </a:cubicBezTo>
                  <a:cubicBezTo>
                    <a:pt x="833" y="652"/>
                    <a:pt x="836" y="657"/>
                    <a:pt x="836" y="663"/>
                  </a:cubicBezTo>
                  <a:cubicBezTo>
                    <a:pt x="836" y="672"/>
                    <a:pt x="829" y="679"/>
                    <a:pt x="820" y="679"/>
                  </a:cubicBezTo>
                  <a:cubicBezTo>
                    <a:pt x="784" y="679"/>
                    <a:pt x="784" y="679"/>
                    <a:pt x="784" y="679"/>
                  </a:cubicBezTo>
                  <a:cubicBezTo>
                    <a:pt x="784" y="144"/>
                    <a:pt x="784" y="144"/>
                    <a:pt x="784" y="144"/>
                  </a:cubicBezTo>
                  <a:cubicBezTo>
                    <a:pt x="784" y="132"/>
                    <a:pt x="774" y="122"/>
                    <a:pt x="762" y="122"/>
                  </a:cubicBezTo>
                  <a:cubicBezTo>
                    <a:pt x="397" y="122"/>
                    <a:pt x="397" y="122"/>
                    <a:pt x="397" y="122"/>
                  </a:cubicBezTo>
                  <a:cubicBezTo>
                    <a:pt x="385" y="122"/>
                    <a:pt x="375" y="132"/>
                    <a:pt x="375" y="144"/>
                  </a:cubicBezTo>
                  <a:cubicBezTo>
                    <a:pt x="375" y="679"/>
                    <a:pt x="375" y="679"/>
                    <a:pt x="375" y="679"/>
                  </a:cubicBezTo>
                  <a:cubicBezTo>
                    <a:pt x="339" y="679"/>
                    <a:pt x="339" y="679"/>
                    <a:pt x="339" y="679"/>
                  </a:cubicBezTo>
                  <a:cubicBezTo>
                    <a:pt x="330" y="679"/>
                    <a:pt x="323" y="672"/>
                    <a:pt x="323" y="663"/>
                  </a:cubicBezTo>
                  <a:cubicBezTo>
                    <a:pt x="323" y="657"/>
                    <a:pt x="326" y="652"/>
                    <a:pt x="331" y="649"/>
                  </a:cubicBezTo>
                  <a:cubicBezTo>
                    <a:pt x="331" y="604"/>
                    <a:pt x="331" y="604"/>
                    <a:pt x="331" y="604"/>
                  </a:cubicBezTo>
                  <a:cubicBezTo>
                    <a:pt x="301" y="608"/>
                    <a:pt x="279" y="633"/>
                    <a:pt x="279" y="663"/>
                  </a:cubicBezTo>
                  <a:cubicBezTo>
                    <a:pt x="279" y="696"/>
                    <a:pt x="306" y="723"/>
                    <a:pt x="339" y="723"/>
                  </a:cubicBezTo>
                  <a:cubicBezTo>
                    <a:pt x="397" y="723"/>
                    <a:pt x="397" y="723"/>
                    <a:pt x="397" y="723"/>
                  </a:cubicBezTo>
                  <a:cubicBezTo>
                    <a:pt x="762" y="723"/>
                    <a:pt x="762" y="723"/>
                    <a:pt x="762" y="723"/>
                  </a:cubicBezTo>
                  <a:cubicBezTo>
                    <a:pt x="820" y="723"/>
                    <a:pt x="820" y="723"/>
                    <a:pt x="820" y="723"/>
                  </a:cubicBezTo>
                  <a:cubicBezTo>
                    <a:pt x="853" y="723"/>
                    <a:pt x="880" y="696"/>
                    <a:pt x="880" y="663"/>
                  </a:cubicBezTo>
                  <a:cubicBezTo>
                    <a:pt x="880" y="633"/>
                    <a:pt x="857" y="608"/>
                    <a:pt x="828" y="604"/>
                  </a:cubicBezTo>
                  <a:close/>
                  <a:moveTo>
                    <a:pt x="740" y="679"/>
                  </a:moveTo>
                  <a:cubicBezTo>
                    <a:pt x="419" y="679"/>
                    <a:pt x="419" y="679"/>
                    <a:pt x="419" y="679"/>
                  </a:cubicBezTo>
                  <a:cubicBezTo>
                    <a:pt x="419" y="166"/>
                    <a:pt x="419" y="166"/>
                    <a:pt x="419" y="166"/>
                  </a:cubicBezTo>
                  <a:cubicBezTo>
                    <a:pt x="740" y="166"/>
                    <a:pt x="740" y="166"/>
                    <a:pt x="740" y="166"/>
                  </a:cubicBezTo>
                  <a:lnTo>
                    <a:pt x="740" y="679"/>
                  </a:lnTo>
                  <a:close/>
                </a:path>
              </a:pathLst>
            </a:custGeom>
            <a:solidFill>
              <a:srgbClr val="59595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3355975" y="2141538"/>
            <a:ext cx="993775" cy="153987"/>
          </a:xfrm>
          <a:prstGeom prst="rect">
            <a:avLst/>
          </a:prstGeom>
          <a:solidFill>
            <a:srgbClr val="FFFFFF"/>
          </a:solidFill>
          <a:ln w="9525" cap="rnd">
            <a:noFill/>
            <a:prstDash val="solid"/>
            <a:round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bg-BG" sz="1000" dirty="0">
                <a:solidFill>
                  <a:srgbClr val="595959"/>
                </a:solidFill>
                <a:sym typeface="PT Sans Caption" panose="020B0603020203020204" pitchFamily="34" charset="0"/>
              </a:rPr>
              <a:t>Производитель</a:t>
            </a:r>
          </a:p>
        </p:txBody>
      </p:sp>
      <p:grpSp>
        <p:nvGrpSpPr>
          <p:cNvPr id="72761" name="Group 206"/>
          <p:cNvGrpSpPr>
            <a:grpSpLocks noChangeAspect="1"/>
          </p:cNvGrpSpPr>
          <p:nvPr/>
        </p:nvGrpSpPr>
        <p:grpSpPr bwMode="auto">
          <a:xfrm>
            <a:off x="3594100" y="3155950"/>
            <a:ext cx="457200" cy="457200"/>
            <a:chOff x="5278438" y="2605088"/>
            <a:chExt cx="1646237" cy="1646237"/>
          </a:xfrm>
        </p:grpSpPr>
        <p:sp>
          <p:nvSpPr>
            <p:cNvPr id="72783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72784" name="Group 208"/>
            <p:cNvGrpSpPr>
              <a:grpSpLocks/>
            </p:cNvGrpSpPr>
            <p:nvPr/>
          </p:nvGrpSpPr>
          <p:grpSpPr bwMode="auto"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72785" name="Freeform 209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T0" fmla="*/ 349250 w 695325"/>
                  <a:gd name="T1" fmla="*/ 1030288 h 1285875"/>
                  <a:gd name="T2" fmla="*/ 388938 w 695325"/>
                  <a:gd name="T3" fmla="*/ 1069976 h 1285875"/>
                  <a:gd name="T4" fmla="*/ 349250 w 695325"/>
                  <a:gd name="T5" fmla="*/ 1109664 h 1285875"/>
                  <a:gd name="T6" fmla="*/ 309562 w 695325"/>
                  <a:gd name="T7" fmla="*/ 1069976 h 1285875"/>
                  <a:gd name="T8" fmla="*/ 349250 w 695325"/>
                  <a:gd name="T9" fmla="*/ 1030288 h 1285875"/>
                  <a:gd name="T10" fmla="*/ 477899 w 695325"/>
                  <a:gd name="T11" fmla="*/ 496888 h 1285875"/>
                  <a:gd name="T12" fmla="*/ 520638 w 695325"/>
                  <a:gd name="T13" fmla="*/ 496888 h 1285875"/>
                  <a:gd name="T14" fmla="*/ 536574 w 695325"/>
                  <a:gd name="T15" fmla="*/ 512763 h 1285875"/>
                  <a:gd name="T16" fmla="*/ 520638 w 695325"/>
                  <a:gd name="T17" fmla="*/ 528638 h 1285875"/>
                  <a:gd name="T18" fmla="*/ 477899 w 695325"/>
                  <a:gd name="T19" fmla="*/ 528638 h 1285875"/>
                  <a:gd name="T20" fmla="*/ 461962 w 695325"/>
                  <a:gd name="T21" fmla="*/ 512763 h 1285875"/>
                  <a:gd name="T22" fmla="*/ 477899 w 695325"/>
                  <a:gd name="T23" fmla="*/ 496888 h 1285875"/>
                  <a:gd name="T24" fmla="*/ 477899 w 695325"/>
                  <a:gd name="T25" fmla="*/ 241300 h 1285875"/>
                  <a:gd name="T26" fmla="*/ 520638 w 695325"/>
                  <a:gd name="T27" fmla="*/ 241300 h 1285875"/>
                  <a:gd name="T28" fmla="*/ 536574 w 695325"/>
                  <a:gd name="T29" fmla="*/ 257175 h 1285875"/>
                  <a:gd name="T30" fmla="*/ 520638 w 695325"/>
                  <a:gd name="T31" fmla="*/ 273050 h 1285875"/>
                  <a:gd name="T32" fmla="*/ 477899 w 695325"/>
                  <a:gd name="T33" fmla="*/ 273050 h 1285875"/>
                  <a:gd name="T34" fmla="*/ 461962 w 695325"/>
                  <a:gd name="T35" fmla="*/ 257175 h 1285875"/>
                  <a:gd name="T36" fmla="*/ 477899 w 695325"/>
                  <a:gd name="T37" fmla="*/ 241300 h 1285875"/>
                  <a:gd name="T38" fmla="*/ 97506 w 695325"/>
                  <a:gd name="T39" fmla="*/ 30163 h 1285875"/>
                  <a:gd name="T40" fmla="*/ 31750 w 695325"/>
                  <a:gd name="T41" fmla="*/ 96613 h 1285875"/>
                  <a:gd name="T42" fmla="*/ 31750 w 695325"/>
                  <a:gd name="T43" fmla="*/ 1188390 h 1285875"/>
                  <a:gd name="T44" fmla="*/ 97506 w 695325"/>
                  <a:gd name="T45" fmla="*/ 1254125 h 1285875"/>
                  <a:gd name="T46" fmla="*/ 597105 w 695325"/>
                  <a:gd name="T47" fmla="*/ 1254125 h 1285875"/>
                  <a:gd name="T48" fmla="*/ 663575 w 695325"/>
                  <a:gd name="T49" fmla="*/ 1188390 h 1285875"/>
                  <a:gd name="T50" fmla="*/ 663575 w 695325"/>
                  <a:gd name="T51" fmla="*/ 96613 h 1285875"/>
                  <a:gd name="T52" fmla="*/ 597105 w 695325"/>
                  <a:gd name="T53" fmla="*/ 30163 h 1285875"/>
                  <a:gd name="T54" fmla="*/ 97506 w 695325"/>
                  <a:gd name="T55" fmla="*/ 30163 h 1285875"/>
                  <a:gd name="T56" fmla="*/ 97289 w 695325"/>
                  <a:gd name="T57" fmla="*/ 0 h 1285875"/>
                  <a:gd name="T58" fmla="*/ 597322 w 695325"/>
                  <a:gd name="T59" fmla="*/ 0 h 1285875"/>
                  <a:gd name="T60" fmla="*/ 695325 w 695325"/>
                  <a:gd name="T61" fmla="*/ 97815 h 1285875"/>
                  <a:gd name="T62" fmla="*/ 695325 w 695325"/>
                  <a:gd name="T63" fmla="*/ 1188774 h 1285875"/>
                  <a:gd name="T64" fmla="*/ 597322 w 695325"/>
                  <a:gd name="T65" fmla="*/ 1285875 h 1285875"/>
                  <a:gd name="T66" fmla="*/ 97289 w 695325"/>
                  <a:gd name="T67" fmla="*/ 1285875 h 1285875"/>
                  <a:gd name="T68" fmla="*/ 0 w 695325"/>
                  <a:gd name="T69" fmla="*/ 1188774 h 1285875"/>
                  <a:gd name="T70" fmla="*/ 0 w 695325"/>
                  <a:gd name="T71" fmla="*/ 97815 h 1285875"/>
                  <a:gd name="T72" fmla="*/ 97289 w 695325"/>
                  <a:gd name="T73" fmla="*/ 0 h 128587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786" name="Freeform 210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T0" fmla="*/ 285750 w 569912"/>
                  <a:gd name="T1" fmla="*/ 928688 h 1158875"/>
                  <a:gd name="T2" fmla="*/ 209550 w 569912"/>
                  <a:gd name="T3" fmla="*/ 1005682 h 1158875"/>
                  <a:gd name="T4" fmla="*/ 285750 w 569912"/>
                  <a:gd name="T5" fmla="*/ 1082676 h 1158875"/>
                  <a:gd name="T6" fmla="*/ 361950 w 569912"/>
                  <a:gd name="T7" fmla="*/ 1005682 h 1158875"/>
                  <a:gd name="T8" fmla="*/ 285750 w 569912"/>
                  <a:gd name="T9" fmla="*/ 928688 h 1158875"/>
                  <a:gd name="T10" fmla="*/ 82394 w 569912"/>
                  <a:gd name="T11" fmla="*/ 801688 h 1158875"/>
                  <a:gd name="T12" fmla="*/ 66675 w 569912"/>
                  <a:gd name="T13" fmla="*/ 817136 h 1158875"/>
                  <a:gd name="T14" fmla="*/ 66675 w 569912"/>
                  <a:gd name="T15" fmla="*/ 823455 h 1158875"/>
                  <a:gd name="T16" fmla="*/ 82394 w 569912"/>
                  <a:gd name="T17" fmla="*/ 838200 h 1158875"/>
                  <a:gd name="T18" fmla="*/ 487518 w 569912"/>
                  <a:gd name="T19" fmla="*/ 838200 h 1158875"/>
                  <a:gd name="T20" fmla="*/ 503237 w 569912"/>
                  <a:gd name="T21" fmla="*/ 823455 h 1158875"/>
                  <a:gd name="T22" fmla="*/ 503237 w 569912"/>
                  <a:gd name="T23" fmla="*/ 817136 h 1158875"/>
                  <a:gd name="T24" fmla="*/ 487518 w 569912"/>
                  <a:gd name="T25" fmla="*/ 801688 h 1158875"/>
                  <a:gd name="T26" fmla="*/ 82394 w 569912"/>
                  <a:gd name="T27" fmla="*/ 801688 h 1158875"/>
                  <a:gd name="T28" fmla="*/ 83956 w 569912"/>
                  <a:gd name="T29" fmla="*/ 706438 h 1158875"/>
                  <a:gd name="T30" fmla="*/ 68262 w 569912"/>
                  <a:gd name="T31" fmla="*/ 722253 h 1158875"/>
                  <a:gd name="T32" fmla="*/ 68262 w 569912"/>
                  <a:gd name="T33" fmla="*/ 728723 h 1158875"/>
                  <a:gd name="T34" fmla="*/ 83956 w 569912"/>
                  <a:gd name="T35" fmla="*/ 744538 h 1158875"/>
                  <a:gd name="T36" fmla="*/ 488417 w 569912"/>
                  <a:gd name="T37" fmla="*/ 744538 h 1158875"/>
                  <a:gd name="T38" fmla="*/ 504824 w 569912"/>
                  <a:gd name="T39" fmla="*/ 728723 h 1158875"/>
                  <a:gd name="T40" fmla="*/ 504824 w 569912"/>
                  <a:gd name="T41" fmla="*/ 722253 h 1158875"/>
                  <a:gd name="T42" fmla="*/ 488417 w 569912"/>
                  <a:gd name="T43" fmla="*/ 706438 h 1158875"/>
                  <a:gd name="T44" fmla="*/ 83956 w 569912"/>
                  <a:gd name="T45" fmla="*/ 706438 h 1158875"/>
                  <a:gd name="T46" fmla="*/ 83956 w 569912"/>
                  <a:gd name="T47" fmla="*/ 608013 h 1158875"/>
                  <a:gd name="T48" fmla="*/ 68262 w 569912"/>
                  <a:gd name="T49" fmla="*/ 623169 h 1158875"/>
                  <a:gd name="T50" fmla="*/ 68262 w 569912"/>
                  <a:gd name="T51" fmla="*/ 629369 h 1158875"/>
                  <a:gd name="T52" fmla="*/ 83956 w 569912"/>
                  <a:gd name="T53" fmla="*/ 644525 h 1158875"/>
                  <a:gd name="T54" fmla="*/ 488417 w 569912"/>
                  <a:gd name="T55" fmla="*/ 644525 h 1158875"/>
                  <a:gd name="T56" fmla="*/ 504824 w 569912"/>
                  <a:gd name="T57" fmla="*/ 629369 h 1158875"/>
                  <a:gd name="T58" fmla="*/ 504824 w 569912"/>
                  <a:gd name="T59" fmla="*/ 623169 h 1158875"/>
                  <a:gd name="T60" fmla="*/ 488417 w 569912"/>
                  <a:gd name="T61" fmla="*/ 608013 h 1158875"/>
                  <a:gd name="T62" fmla="*/ 83956 w 569912"/>
                  <a:gd name="T63" fmla="*/ 608013 h 1158875"/>
                  <a:gd name="T64" fmla="*/ 91733 w 569912"/>
                  <a:gd name="T65" fmla="*/ 315913 h 1158875"/>
                  <a:gd name="T66" fmla="*/ 66675 w 569912"/>
                  <a:gd name="T67" fmla="*/ 341049 h 1158875"/>
                  <a:gd name="T68" fmla="*/ 66675 w 569912"/>
                  <a:gd name="T69" fmla="*/ 471753 h 1158875"/>
                  <a:gd name="T70" fmla="*/ 91733 w 569912"/>
                  <a:gd name="T71" fmla="*/ 496888 h 1158875"/>
                  <a:gd name="T72" fmla="*/ 479052 w 569912"/>
                  <a:gd name="T73" fmla="*/ 496888 h 1158875"/>
                  <a:gd name="T74" fmla="*/ 504825 w 569912"/>
                  <a:gd name="T75" fmla="*/ 471753 h 1158875"/>
                  <a:gd name="T76" fmla="*/ 504825 w 569912"/>
                  <a:gd name="T77" fmla="*/ 341049 h 1158875"/>
                  <a:gd name="T78" fmla="*/ 479052 w 569912"/>
                  <a:gd name="T79" fmla="*/ 315913 h 1158875"/>
                  <a:gd name="T80" fmla="*/ 91733 w 569912"/>
                  <a:gd name="T81" fmla="*/ 315913 h 1158875"/>
                  <a:gd name="T82" fmla="*/ 91733 w 569912"/>
                  <a:gd name="T83" fmla="*/ 60325 h 1158875"/>
                  <a:gd name="T84" fmla="*/ 66675 w 569912"/>
                  <a:gd name="T85" fmla="*/ 85461 h 1158875"/>
                  <a:gd name="T86" fmla="*/ 66675 w 569912"/>
                  <a:gd name="T87" fmla="*/ 216165 h 1158875"/>
                  <a:gd name="T88" fmla="*/ 91733 w 569912"/>
                  <a:gd name="T89" fmla="*/ 241300 h 1158875"/>
                  <a:gd name="T90" fmla="*/ 479052 w 569912"/>
                  <a:gd name="T91" fmla="*/ 241300 h 1158875"/>
                  <a:gd name="T92" fmla="*/ 504825 w 569912"/>
                  <a:gd name="T93" fmla="*/ 216165 h 1158875"/>
                  <a:gd name="T94" fmla="*/ 504825 w 569912"/>
                  <a:gd name="T95" fmla="*/ 85461 h 1158875"/>
                  <a:gd name="T96" fmla="*/ 479052 w 569912"/>
                  <a:gd name="T97" fmla="*/ 60325 h 1158875"/>
                  <a:gd name="T98" fmla="*/ 91733 w 569912"/>
                  <a:gd name="T99" fmla="*/ 60325 h 1158875"/>
                  <a:gd name="T100" fmla="*/ 34324 w 569912"/>
                  <a:gd name="T101" fmla="*/ 0 h 1158875"/>
                  <a:gd name="T102" fmla="*/ 534874 w 569912"/>
                  <a:gd name="T103" fmla="*/ 0 h 1158875"/>
                  <a:gd name="T104" fmla="*/ 569912 w 569912"/>
                  <a:gd name="T105" fmla="*/ 34295 h 1158875"/>
                  <a:gd name="T106" fmla="*/ 569912 w 569912"/>
                  <a:gd name="T107" fmla="*/ 1124580 h 1158875"/>
                  <a:gd name="T108" fmla="*/ 534874 w 569912"/>
                  <a:gd name="T109" fmla="*/ 1158875 h 1158875"/>
                  <a:gd name="T110" fmla="*/ 34324 w 569912"/>
                  <a:gd name="T111" fmla="*/ 1158875 h 1158875"/>
                  <a:gd name="T112" fmla="*/ 0 w 569912"/>
                  <a:gd name="T113" fmla="*/ 1124580 h 1158875"/>
                  <a:gd name="T114" fmla="*/ 0 w 569912"/>
                  <a:gd name="T115" fmla="*/ 34295 h 1158875"/>
                  <a:gd name="T116" fmla="*/ 34324 w 569912"/>
                  <a:gd name="T117" fmla="*/ 0 h 115887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72762" name="Group 201"/>
          <p:cNvGrpSpPr>
            <a:grpSpLocks noChangeAspect="1"/>
          </p:cNvGrpSpPr>
          <p:nvPr/>
        </p:nvGrpSpPr>
        <p:grpSpPr bwMode="auto">
          <a:xfrm>
            <a:off x="4313238" y="3559175"/>
            <a:ext cx="457200" cy="457200"/>
            <a:chOff x="5278438" y="2605088"/>
            <a:chExt cx="1646237" cy="1646237"/>
          </a:xfrm>
        </p:grpSpPr>
        <p:sp>
          <p:nvSpPr>
            <p:cNvPr id="72779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72780" name="Group 203"/>
            <p:cNvGrpSpPr>
              <a:grpSpLocks/>
            </p:cNvGrpSpPr>
            <p:nvPr/>
          </p:nvGrpSpPr>
          <p:grpSpPr bwMode="auto"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72781" name="Freeform 204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T0" fmla="*/ 349250 w 695325"/>
                  <a:gd name="T1" fmla="*/ 1030288 h 1285875"/>
                  <a:gd name="T2" fmla="*/ 388938 w 695325"/>
                  <a:gd name="T3" fmla="*/ 1069976 h 1285875"/>
                  <a:gd name="T4" fmla="*/ 349250 w 695325"/>
                  <a:gd name="T5" fmla="*/ 1109664 h 1285875"/>
                  <a:gd name="T6" fmla="*/ 309562 w 695325"/>
                  <a:gd name="T7" fmla="*/ 1069976 h 1285875"/>
                  <a:gd name="T8" fmla="*/ 349250 w 695325"/>
                  <a:gd name="T9" fmla="*/ 1030288 h 1285875"/>
                  <a:gd name="T10" fmla="*/ 477899 w 695325"/>
                  <a:gd name="T11" fmla="*/ 496888 h 1285875"/>
                  <a:gd name="T12" fmla="*/ 520638 w 695325"/>
                  <a:gd name="T13" fmla="*/ 496888 h 1285875"/>
                  <a:gd name="T14" fmla="*/ 536574 w 695325"/>
                  <a:gd name="T15" fmla="*/ 512763 h 1285875"/>
                  <a:gd name="T16" fmla="*/ 520638 w 695325"/>
                  <a:gd name="T17" fmla="*/ 528638 h 1285875"/>
                  <a:gd name="T18" fmla="*/ 477899 w 695325"/>
                  <a:gd name="T19" fmla="*/ 528638 h 1285875"/>
                  <a:gd name="T20" fmla="*/ 461962 w 695325"/>
                  <a:gd name="T21" fmla="*/ 512763 h 1285875"/>
                  <a:gd name="T22" fmla="*/ 477899 w 695325"/>
                  <a:gd name="T23" fmla="*/ 496888 h 1285875"/>
                  <a:gd name="T24" fmla="*/ 477899 w 695325"/>
                  <a:gd name="T25" fmla="*/ 241300 h 1285875"/>
                  <a:gd name="T26" fmla="*/ 520638 w 695325"/>
                  <a:gd name="T27" fmla="*/ 241300 h 1285875"/>
                  <a:gd name="T28" fmla="*/ 536574 w 695325"/>
                  <a:gd name="T29" fmla="*/ 257175 h 1285875"/>
                  <a:gd name="T30" fmla="*/ 520638 w 695325"/>
                  <a:gd name="T31" fmla="*/ 273050 h 1285875"/>
                  <a:gd name="T32" fmla="*/ 477899 w 695325"/>
                  <a:gd name="T33" fmla="*/ 273050 h 1285875"/>
                  <a:gd name="T34" fmla="*/ 461962 w 695325"/>
                  <a:gd name="T35" fmla="*/ 257175 h 1285875"/>
                  <a:gd name="T36" fmla="*/ 477899 w 695325"/>
                  <a:gd name="T37" fmla="*/ 241300 h 1285875"/>
                  <a:gd name="T38" fmla="*/ 97506 w 695325"/>
                  <a:gd name="T39" fmla="*/ 30163 h 1285875"/>
                  <a:gd name="T40" fmla="*/ 31750 w 695325"/>
                  <a:gd name="T41" fmla="*/ 96613 h 1285875"/>
                  <a:gd name="T42" fmla="*/ 31750 w 695325"/>
                  <a:gd name="T43" fmla="*/ 1188390 h 1285875"/>
                  <a:gd name="T44" fmla="*/ 97506 w 695325"/>
                  <a:gd name="T45" fmla="*/ 1254125 h 1285875"/>
                  <a:gd name="T46" fmla="*/ 597105 w 695325"/>
                  <a:gd name="T47" fmla="*/ 1254125 h 1285875"/>
                  <a:gd name="T48" fmla="*/ 663575 w 695325"/>
                  <a:gd name="T49" fmla="*/ 1188390 h 1285875"/>
                  <a:gd name="T50" fmla="*/ 663575 w 695325"/>
                  <a:gd name="T51" fmla="*/ 96613 h 1285875"/>
                  <a:gd name="T52" fmla="*/ 597105 w 695325"/>
                  <a:gd name="T53" fmla="*/ 30163 h 1285875"/>
                  <a:gd name="T54" fmla="*/ 97506 w 695325"/>
                  <a:gd name="T55" fmla="*/ 30163 h 1285875"/>
                  <a:gd name="T56" fmla="*/ 97289 w 695325"/>
                  <a:gd name="T57" fmla="*/ 0 h 1285875"/>
                  <a:gd name="T58" fmla="*/ 597322 w 695325"/>
                  <a:gd name="T59" fmla="*/ 0 h 1285875"/>
                  <a:gd name="T60" fmla="*/ 695325 w 695325"/>
                  <a:gd name="T61" fmla="*/ 97815 h 1285875"/>
                  <a:gd name="T62" fmla="*/ 695325 w 695325"/>
                  <a:gd name="T63" fmla="*/ 1188774 h 1285875"/>
                  <a:gd name="T64" fmla="*/ 597322 w 695325"/>
                  <a:gd name="T65" fmla="*/ 1285875 h 1285875"/>
                  <a:gd name="T66" fmla="*/ 97289 w 695325"/>
                  <a:gd name="T67" fmla="*/ 1285875 h 1285875"/>
                  <a:gd name="T68" fmla="*/ 0 w 695325"/>
                  <a:gd name="T69" fmla="*/ 1188774 h 1285875"/>
                  <a:gd name="T70" fmla="*/ 0 w 695325"/>
                  <a:gd name="T71" fmla="*/ 97815 h 1285875"/>
                  <a:gd name="T72" fmla="*/ 97289 w 695325"/>
                  <a:gd name="T73" fmla="*/ 0 h 128587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782" name="Freeform 205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T0" fmla="*/ 285750 w 569912"/>
                  <a:gd name="T1" fmla="*/ 928688 h 1158875"/>
                  <a:gd name="T2" fmla="*/ 209550 w 569912"/>
                  <a:gd name="T3" fmla="*/ 1005682 h 1158875"/>
                  <a:gd name="T4" fmla="*/ 285750 w 569912"/>
                  <a:gd name="T5" fmla="*/ 1082676 h 1158875"/>
                  <a:gd name="T6" fmla="*/ 361950 w 569912"/>
                  <a:gd name="T7" fmla="*/ 1005682 h 1158875"/>
                  <a:gd name="T8" fmla="*/ 285750 w 569912"/>
                  <a:gd name="T9" fmla="*/ 928688 h 1158875"/>
                  <a:gd name="T10" fmla="*/ 82394 w 569912"/>
                  <a:gd name="T11" fmla="*/ 801688 h 1158875"/>
                  <a:gd name="T12" fmla="*/ 66675 w 569912"/>
                  <a:gd name="T13" fmla="*/ 817136 h 1158875"/>
                  <a:gd name="T14" fmla="*/ 66675 w 569912"/>
                  <a:gd name="T15" fmla="*/ 823455 h 1158875"/>
                  <a:gd name="T16" fmla="*/ 82394 w 569912"/>
                  <a:gd name="T17" fmla="*/ 838200 h 1158875"/>
                  <a:gd name="T18" fmla="*/ 487518 w 569912"/>
                  <a:gd name="T19" fmla="*/ 838200 h 1158875"/>
                  <a:gd name="T20" fmla="*/ 503237 w 569912"/>
                  <a:gd name="T21" fmla="*/ 823455 h 1158875"/>
                  <a:gd name="T22" fmla="*/ 503237 w 569912"/>
                  <a:gd name="T23" fmla="*/ 817136 h 1158875"/>
                  <a:gd name="T24" fmla="*/ 487518 w 569912"/>
                  <a:gd name="T25" fmla="*/ 801688 h 1158875"/>
                  <a:gd name="T26" fmla="*/ 82394 w 569912"/>
                  <a:gd name="T27" fmla="*/ 801688 h 1158875"/>
                  <a:gd name="T28" fmla="*/ 83956 w 569912"/>
                  <a:gd name="T29" fmla="*/ 706438 h 1158875"/>
                  <a:gd name="T30" fmla="*/ 68262 w 569912"/>
                  <a:gd name="T31" fmla="*/ 722253 h 1158875"/>
                  <a:gd name="T32" fmla="*/ 68262 w 569912"/>
                  <a:gd name="T33" fmla="*/ 728723 h 1158875"/>
                  <a:gd name="T34" fmla="*/ 83956 w 569912"/>
                  <a:gd name="T35" fmla="*/ 744538 h 1158875"/>
                  <a:gd name="T36" fmla="*/ 488417 w 569912"/>
                  <a:gd name="T37" fmla="*/ 744538 h 1158875"/>
                  <a:gd name="T38" fmla="*/ 504824 w 569912"/>
                  <a:gd name="T39" fmla="*/ 728723 h 1158875"/>
                  <a:gd name="T40" fmla="*/ 504824 w 569912"/>
                  <a:gd name="T41" fmla="*/ 722253 h 1158875"/>
                  <a:gd name="T42" fmla="*/ 488417 w 569912"/>
                  <a:gd name="T43" fmla="*/ 706438 h 1158875"/>
                  <a:gd name="T44" fmla="*/ 83956 w 569912"/>
                  <a:gd name="T45" fmla="*/ 706438 h 1158875"/>
                  <a:gd name="T46" fmla="*/ 83956 w 569912"/>
                  <a:gd name="T47" fmla="*/ 608013 h 1158875"/>
                  <a:gd name="T48" fmla="*/ 68262 w 569912"/>
                  <a:gd name="T49" fmla="*/ 623169 h 1158875"/>
                  <a:gd name="T50" fmla="*/ 68262 w 569912"/>
                  <a:gd name="T51" fmla="*/ 629369 h 1158875"/>
                  <a:gd name="T52" fmla="*/ 83956 w 569912"/>
                  <a:gd name="T53" fmla="*/ 644525 h 1158875"/>
                  <a:gd name="T54" fmla="*/ 488417 w 569912"/>
                  <a:gd name="T55" fmla="*/ 644525 h 1158875"/>
                  <a:gd name="T56" fmla="*/ 504824 w 569912"/>
                  <a:gd name="T57" fmla="*/ 629369 h 1158875"/>
                  <a:gd name="T58" fmla="*/ 504824 w 569912"/>
                  <a:gd name="T59" fmla="*/ 623169 h 1158875"/>
                  <a:gd name="T60" fmla="*/ 488417 w 569912"/>
                  <a:gd name="T61" fmla="*/ 608013 h 1158875"/>
                  <a:gd name="T62" fmla="*/ 83956 w 569912"/>
                  <a:gd name="T63" fmla="*/ 608013 h 1158875"/>
                  <a:gd name="T64" fmla="*/ 91733 w 569912"/>
                  <a:gd name="T65" fmla="*/ 315913 h 1158875"/>
                  <a:gd name="T66" fmla="*/ 66675 w 569912"/>
                  <a:gd name="T67" fmla="*/ 341049 h 1158875"/>
                  <a:gd name="T68" fmla="*/ 66675 w 569912"/>
                  <a:gd name="T69" fmla="*/ 471753 h 1158875"/>
                  <a:gd name="T70" fmla="*/ 91733 w 569912"/>
                  <a:gd name="T71" fmla="*/ 496888 h 1158875"/>
                  <a:gd name="T72" fmla="*/ 479052 w 569912"/>
                  <a:gd name="T73" fmla="*/ 496888 h 1158875"/>
                  <a:gd name="T74" fmla="*/ 504825 w 569912"/>
                  <a:gd name="T75" fmla="*/ 471753 h 1158875"/>
                  <a:gd name="T76" fmla="*/ 504825 w 569912"/>
                  <a:gd name="T77" fmla="*/ 341049 h 1158875"/>
                  <a:gd name="T78" fmla="*/ 479052 w 569912"/>
                  <a:gd name="T79" fmla="*/ 315913 h 1158875"/>
                  <a:gd name="T80" fmla="*/ 91733 w 569912"/>
                  <a:gd name="T81" fmla="*/ 315913 h 1158875"/>
                  <a:gd name="T82" fmla="*/ 91733 w 569912"/>
                  <a:gd name="T83" fmla="*/ 60325 h 1158875"/>
                  <a:gd name="T84" fmla="*/ 66675 w 569912"/>
                  <a:gd name="T85" fmla="*/ 85461 h 1158875"/>
                  <a:gd name="T86" fmla="*/ 66675 w 569912"/>
                  <a:gd name="T87" fmla="*/ 216165 h 1158875"/>
                  <a:gd name="T88" fmla="*/ 91733 w 569912"/>
                  <a:gd name="T89" fmla="*/ 241300 h 1158875"/>
                  <a:gd name="T90" fmla="*/ 479052 w 569912"/>
                  <a:gd name="T91" fmla="*/ 241300 h 1158875"/>
                  <a:gd name="T92" fmla="*/ 504825 w 569912"/>
                  <a:gd name="T93" fmla="*/ 216165 h 1158875"/>
                  <a:gd name="T94" fmla="*/ 504825 w 569912"/>
                  <a:gd name="T95" fmla="*/ 85461 h 1158875"/>
                  <a:gd name="T96" fmla="*/ 479052 w 569912"/>
                  <a:gd name="T97" fmla="*/ 60325 h 1158875"/>
                  <a:gd name="T98" fmla="*/ 91733 w 569912"/>
                  <a:gd name="T99" fmla="*/ 60325 h 1158875"/>
                  <a:gd name="T100" fmla="*/ 34324 w 569912"/>
                  <a:gd name="T101" fmla="*/ 0 h 1158875"/>
                  <a:gd name="T102" fmla="*/ 534874 w 569912"/>
                  <a:gd name="T103" fmla="*/ 0 h 1158875"/>
                  <a:gd name="T104" fmla="*/ 569912 w 569912"/>
                  <a:gd name="T105" fmla="*/ 34295 h 1158875"/>
                  <a:gd name="T106" fmla="*/ 569912 w 569912"/>
                  <a:gd name="T107" fmla="*/ 1124580 h 1158875"/>
                  <a:gd name="T108" fmla="*/ 534874 w 569912"/>
                  <a:gd name="T109" fmla="*/ 1158875 h 1158875"/>
                  <a:gd name="T110" fmla="*/ 34324 w 569912"/>
                  <a:gd name="T111" fmla="*/ 1158875 h 1158875"/>
                  <a:gd name="T112" fmla="*/ 0 w 569912"/>
                  <a:gd name="T113" fmla="*/ 1124580 h 1158875"/>
                  <a:gd name="T114" fmla="*/ 0 w 569912"/>
                  <a:gd name="T115" fmla="*/ 34295 h 1158875"/>
                  <a:gd name="T116" fmla="*/ 34324 w 569912"/>
                  <a:gd name="T117" fmla="*/ 0 h 115887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72763" name="Group 195"/>
          <p:cNvGrpSpPr>
            <a:grpSpLocks noChangeAspect="1"/>
          </p:cNvGrpSpPr>
          <p:nvPr/>
        </p:nvGrpSpPr>
        <p:grpSpPr bwMode="auto">
          <a:xfrm>
            <a:off x="5059363" y="3576638"/>
            <a:ext cx="457200" cy="457200"/>
            <a:chOff x="5278438" y="2605088"/>
            <a:chExt cx="1646237" cy="1646237"/>
          </a:xfrm>
        </p:grpSpPr>
        <p:sp>
          <p:nvSpPr>
            <p:cNvPr id="72775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72776" name="Group 197"/>
            <p:cNvGrpSpPr>
              <a:grpSpLocks/>
            </p:cNvGrpSpPr>
            <p:nvPr/>
          </p:nvGrpSpPr>
          <p:grpSpPr bwMode="auto"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72777" name="Freeform 198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T0" fmla="*/ 349250 w 695325"/>
                  <a:gd name="T1" fmla="*/ 1030288 h 1285875"/>
                  <a:gd name="T2" fmla="*/ 388938 w 695325"/>
                  <a:gd name="T3" fmla="*/ 1069976 h 1285875"/>
                  <a:gd name="T4" fmla="*/ 349250 w 695325"/>
                  <a:gd name="T5" fmla="*/ 1109664 h 1285875"/>
                  <a:gd name="T6" fmla="*/ 309562 w 695325"/>
                  <a:gd name="T7" fmla="*/ 1069976 h 1285875"/>
                  <a:gd name="T8" fmla="*/ 349250 w 695325"/>
                  <a:gd name="T9" fmla="*/ 1030288 h 1285875"/>
                  <a:gd name="T10" fmla="*/ 477899 w 695325"/>
                  <a:gd name="T11" fmla="*/ 496888 h 1285875"/>
                  <a:gd name="T12" fmla="*/ 520638 w 695325"/>
                  <a:gd name="T13" fmla="*/ 496888 h 1285875"/>
                  <a:gd name="T14" fmla="*/ 536574 w 695325"/>
                  <a:gd name="T15" fmla="*/ 512763 h 1285875"/>
                  <a:gd name="T16" fmla="*/ 520638 w 695325"/>
                  <a:gd name="T17" fmla="*/ 528638 h 1285875"/>
                  <a:gd name="T18" fmla="*/ 477899 w 695325"/>
                  <a:gd name="T19" fmla="*/ 528638 h 1285875"/>
                  <a:gd name="T20" fmla="*/ 461962 w 695325"/>
                  <a:gd name="T21" fmla="*/ 512763 h 1285875"/>
                  <a:gd name="T22" fmla="*/ 477899 w 695325"/>
                  <a:gd name="T23" fmla="*/ 496888 h 1285875"/>
                  <a:gd name="T24" fmla="*/ 477899 w 695325"/>
                  <a:gd name="T25" fmla="*/ 241300 h 1285875"/>
                  <a:gd name="T26" fmla="*/ 520638 w 695325"/>
                  <a:gd name="T27" fmla="*/ 241300 h 1285875"/>
                  <a:gd name="T28" fmla="*/ 536574 w 695325"/>
                  <a:gd name="T29" fmla="*/ 257175 h 1285875"/>
                  <a:gd name="T30" fmla="*/ 520638 w 695325"/>
                  <a:gd name="T31" fmla="*/ 273050 h 1285875"/>
                  <a:gd name="T32" fmla="*/ 477899 w 695325"/>
                  <a:gd name="T33" fmla="*/ 273050 h 1285875"/>
                  <a:gd name="T34" fmla="*/ 461962 w 695325"/>
                  <a:gd name="T35" fmla="*/ 257175 h 1285875"/>
                  <a:gd name="T36" fmla="*/ 477899 w 695325"/>
                  <a:gd name="T37" fmla="*/ 241300 h 1285875"/>
                  <a:gd name="T38" fmla="*/ 97506 w 695325"/>
                  <a:gd name="T39" fmla="*/ 30163 h 1285875"/>
                  <a:gd name="T40" fmla="*/ 31750 w 695325"/>
                  <a:gd name="T41" fmla="*/ 96613 h 1285875"/>
                  <a:gd name="T42" fmla="*/ 31750 w 695325"/>
                  <a:gd name="T43" fmla="*/ 1188390 h 1285875"/>
                  <a:gd name="T44" fmla="*/ 97506 w 695325"/>
                  <a:gd name="T45" fmla="*/ 1254125 h 1285875"/>
                  <a:gd name="T46" fmla="*/ 597105 w 695325"/>
                  <a:gd name="T47" fmla="*/ 1254125 h 1285875"/>
                  <a:gd name="T48" fmla="*/ 663575 w 695325"/>
                  <a:gd name="T49" fmla="*/ 1188390 h 1285875"/>
                  <a:gd name="T50" fmla="*/ 663575 w 695325"/>
                  <a:gd name="T51" fmla="*/ 96613 h 1285875"/>
                  <a:gd name="T52" fmla="*/ 597105 w 695325"/>
                  <a:gd name="T53" fmla="*/ 30163 h 1285875"/>
                  <a:gd name="T54" fmla="*/ 97506 w 695325"/>
                  <a:gd name="T55" fmla="*/ 30163 h 1285875"/>
                  <a:gd name="T56" fmla="*/ 97289 w 695325"/>
                  <a:gd name="T57" fmla="*/ 0 h 1285875"/>
                  <a:gd name="T58" fmla="*/ 597322 w 695325"/>
                  <a:gd name="T59" fmla="*/ 0 h 1285875"/>
                  <a:gd name="T60" fmla="*/ 695325 w 695325"/>
                  <a:gd name="T61" fmla="*/ 97815 h 1285875"/>
                  <a:gd name="T62" fmla="*/ 695325 w 695325"/>
                  <a:gd name="T63" fmla="*/ 1188774 h 1285875"/>
                  <a:gd name="T64" fmla="*/ 597322 w 695325"/>
                  <a:gd name="T65" fmla="*/ 1285875 h 1285875"/>
                  <a:gd name="T66" fmla="*/ 97289 w 695325"/>
                  <a:gd name="T67" fmla="*/ 1285875 h 1285875"/>
                  <a:gd name="T68" fmla="*/ 0 w 695325"/>
                  <a:gd name="T69" fmla="*/ 1188774 h 1285875"/>
                  <a:gd name="T70" fmla="*/ 0 w 695325"/>
                  <a:gd name="T71" fmla="*/ 97815 h 1285875"/>
                  <a:gd name="T72" fmla="*/ 97289 w 695325"/>
                  <a:gd name="T73" fmla="*/ 0 h 128587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778" name="Freeform 199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T0" fmla="*/ 285750 w 569912"/>
                  <a:gd name="T1" fmla="*/ 928688 h 1158875"/>
                  <a:gd name="T2" fmla="*/ 209550 w 569912"/>
                  <a:gd name="T3" fmla="*/ 1005682 h 1158875"/>
                  <a:gd name="T4" fmla="*/ 285750 w 569912"/>
                  <a:gd name="T5" fmla="*/ 1082676 h 1158875"/>
                  <a:gd name="T6" fmla="*/ 361950 w 569912"/>
                  <a:gd name="T7" fmla="*/ 1005682 h 1158875"/>
                  <a:gd name="T8" fmla="*/ 285750 w 569912"/>
                  <a:gd name="T9" fmla="*/ 928688 h 1158875"/>
                  <a:gd name="T10" fmla="*/ 82394 w 569912"/>
                  <a:gd name="T11" fmla="*/ 801688 h 1158875"/>
                  <a:gd name="T12" fmla="*/ 66675 w 569912"/>
                  <a:gd name="T13" fmla="*/ 817136 h 1158875"/>
                  <a:gd name="T14" fmla="*/ 66675 w 569912"/>
                  <a:gd name="T15" fmla="*/ 823455 h 1158875"/>
                  <a:gd name="T16" fmla="*/ 82394 w 569912"/>
                  <a:gd name="T17" fmla="*/ 838200 h 1158875"/>
                  <a:gd name="T18" fmla="*/ 487518 w 569912"/>
                  <a:gd name="T19" fmla="*/ 838200 h 1158875"/>
                  <a:gd name="T20" fmla="*/ 503237 w 569912"/>
                  <a:gd name="T21" fmla="*/ 823455 h 1158875"/>
                  <a:gd name="T22" fmla="*/ 503237 w 569912"/>
                  <a:gd name="T23" fmla="*/ 817136 h 1158875"/>
                  <a:gd name="T24" fmla="*/ 487518 w 569912"/>
                  <a:gd name="T25" fmla="*/ 801688 h 1158875"/>
                  <a:gd name="T26" fmla="*/ 82394 w 569912"/>
                  <a:gd name="T27" fmla="*/ 801688 h 1158875"/>
                  <a:gd name="T28" fmla="*/ 83956 w 569912"/>
                  <a:gd name="T29" fmla="*/ 706438 h 1158875"/>
                  <a:gd name="T30" fmla="*/ 68262 w 569912"/>
                  <a:gd name="T31" fmla="*/ 722253 h 1158875"/>
                  <a:gd name="T32" fmla="*/ 68262 w 569912"/>
                  <a:gd name="T33" fmla="*/ 728723 h 1158875"/>
                  <a:gd name="T34" fmla="*/ 83956 w 569912"/>
                  <a:gd name="T35" fmla="*/ 744538 h 1158875"/>
                  <a:gd name="T36" fmla="*/ 488417 w 569912"/>
                  <a:gd name="T37" fmla="*/ 744538 h 1158875"/>
                  <a:gd name="T38" fmla="*/ 504824 w 569912"/>
                  <a:gd name="T39" fmla="*/ 728723 h 1158875"/>
                  <a:gd name="T40" fmla="*/ 504824 w 569912"/>
                  <a:gd name="T41" fmla="*/ 722253 h 1158875"/>
                  <a:gd name="T42" fmla="*/ 488417 w 569912"/>
                  <a:gd name="T43" fmla="*/ 706438 h 1158875"/>
                  <a:gd name="T44" fmla="*/ 83956 w 569912"/>
                  <a:gd name="T45" fmla="*/ 706438 h 1158875"/>
                  <a:gd name="T46" fmla="*/ 83956 w 569912"/>
                  <a:gd name="T47" fmla="*/ 608013 h 1158875"/>
                  <a:gd name="T48" fmla="*/ 68262 w 569912"/>
                  <a:gd name="T49" fmla="*/ 623169 h 1158875"/>
                  <a:gd name="T50" fmla="*/ 68262 w 569912"/>
                  <a:gd name="T51" fmla="*/ 629369 h 1158875"/>
                  <a:gd name="T52" fmla="*/ 83956 w 569912"/>
                  <a:gd name="T53" fmla="*/ 644525 h 1158875"/>
                  <a:gd name="T54" fmla="*/ 488417 w 569912"/>
                  <a:gd name="T55" fmla="*/ 644525 h 1158875"/>
                  <a:gd name="T56" fmla="*/ 504824 w 569912"/>
                  <a:gd name="T57" fmla="*/ 629369 h 1158875"/>
                  <a:gd name="T58" fmla="*/ 504824 w 569912"/>
                  <a:gd name="T59" fmla="*/ 623169 h 1158875"/>
                  <a:gd name="T60" fmla="*/ 488417 w 569912"/>
                  <a:gd name="T61" fmla="*/ 608013 h 1158875"/>
                  <a:gd name="T62" fmla="*/ 83956 w 569912"/>
                  <a:gd name="T63" fmla="*/ 608013 h 1158875"/>
                  <a:gd name="T64" fmla="*/ 91733 w 569912"/>
                  <a:gd name="T65" fmla="*/ 315913 h 1158875"/>
                  <a:gd name="T66" fmla="*/ 66675 w 569912"/>
                  <a:gd name="T67" fmla="*/ 341049 h 1158875"/>
                  <a:gd name="T68" fmla="*/ 66675 w 569912"/>
                  <a:gd name="T69" fmla="*/ 471753 h 1158875"/>
                  <a:gd name="T70" fmla="*/ 91733 w 569912"/>
                  <a:gd name="T71" fmla="*/ 496888 h 1158875"/>
                  <a:gd name="T72" fmla="*/ 479052 w 569912"/>
                  <a:gd name="T73" fmla="*/ 496888 h 1158875"/>
                  <a:gd name="T74" fmla="*/ 504825 w 569912"/>
                  <a:gd name="T75" fmla="*/ 471753 h 1158875"/>
                  <a:gd name="T76" fmla="*/ 504825 w 569912"/>
                  <a:gd name="T77" fmla="*/ 341049 h 1158875"/>
                  <a:gd name="T78" fmla="*/ 479052 w 569912"/>
                  <a:gd name="T79" fmla="*/ 315913 h 1158875"/>
                  <a:gd name="T80" fmla="*/ 91733 w 569912"/>
                  <a:gd name="T81" fmla="*/ 315913 h 1158875"/>
                  <a:gd name="T82" fmla="*/ 91733 w 569912"/>
                  <a:gd name="T83" fmla="*/ 60325 h 1158875"/>
                  <a:gd name="T84" fmla="*/ 66675 w 569912"/>
                  <a:gd name="T85" fmla="*/ 85461 h 1158875"/>
                  <a:gd name="T86" fmla="*/ 66675 w 569912"/>
                  <a:gd name="T87" fmla="*/ 216165 h 1158875"/>
                  <a:gd name="T88" fmla="*/ 91733 w 569912"/>
                  <a:gd name="T89" fmla="*/ 241300 h 1158875"/>
                  <a:gd name="T90" fmla="*/ 479052 w 569912"/>
                  <a:gd name="T91" fmla="*/ 241300 h 1158875"/>
                  <a:gd name="T92" fmla="*/ 504825 w 569912"/>
                  <a:gd name="T93" fmla="*/ 216165 h 1158875"/>
                  <a:gd name="T94" fmla="*/ 504825 w 569912"/>
                  <a:gd name="T95" fmla="*/ 85461 h 1158875"/>
                  <a:gd name="T96" fmla="*/ 479052 w 569912"/>
                  <a:gd name="T97" fmla="*/ 60325 h 1158875"/>
                  <a:gd name="T98" fmla="*/ 91733 w 569912"/>
                  <a:gd name="T99" fmla="*/ 60325 h 1158875"/>
                  <a:gd name="T100" fmla="*/ 34324 w 569912"/>
                  <a:gd name="T101" fmla="*/ 0 h 1158875"/>
                  <a:gd name="T102" fmla="*/ 534874 w 569912"/>
                  <a:gd name="T103" fmla="*/ 0 h 1158875"/>
                  <a:gd name="T104" fmla="*/ 569912 w 569912"/>
                  <a:gd name="T105" fmla="*/ 34295 h 1158875"/>
                  <a:gd name="T106" fmla="*/ 569912 w 569912"/>
                  <a:gd name="T107" fmla="*/ 1124580 h 1158875"/>
                  <a:gd name="T108" fmla="*/ 534874 w 569912"/>
                  <a:gd name="T109" fmla="*/ 1158875 h 1158875"/>
                  <a:gd name="T110" fmla="*/ 34324 w 569912"/>
                  <a:gd name="T111" fmla="*/ 1158875 h 1158875"/>
                  <a:gd name="T112" fmla="*/ 0 w 569912"/>
                  <a:gd name="T113" fmla="*/ 1124580 h 1158875"/>
                  <a:gd name="T114" fmla="*/ 0 w 569912"/>
                  <a:gd name="T115" fmla="*/ 34295 h 1158875"/>
                  <a:gd name="T116" fmla="*/ 34324 w 569912"/>
                  <a:gd name="T117" fmla="*/ 0 h 115887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72764" name="Group 190"/>
          <p:cNvGrpSpPr>
            <a:grpSpLocks noChangeAspect="1"/>
          </p:cNvGrpSpPr>
          <p:nvPr/>
        </p:nvGrpSpPr>
        <p:grpSpPr bwMode="auto">
          <a:xfrm>
            <a:off x="5803900" y="3182938"/>
            <a:ext cx="457200" cy="457200"/>
            <a:chOff x="5278438" y="2605088"/>
            <a:chExt cx="1646237" cy="1646237"/>
          </a:xfrm>
        </p:grpSpPr>
        <p:sp>
          <p:nvSpPr>
            <p:cNvPr id="72771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72772" name="Group 192"/>
            <p:cNvGrpSpPr>
              <a:grpSpLocks/>
            </p:cNvGrpSpPr>
            <p:nvPr/>
          </p:nvGrpSpPr>
          <p:grpSpPr bwMode="auto"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72773" name="Freeform 193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T0" fmla="*/ 349250 w 695325"/>
                  <a:gd name="T1" fmla="*/ 1030288 h 1285875"/>
                  <a:gd name="T2" fmla="*/ 388938 w 695325"/>
                  <a:gd name="T3" fmla="*/ 1069976 h 1285875"/>
                  <a:gd name="T4" fmla="*/ 349250 w 695325"/>
                  <a:gd name="T5" fmla="*/ 1109664 h 1285875"/>
                  <a:gd name="T6" fmla="*/ 309562 w 695325"/>
                  <a:gd name="T7" fmla="*/ 1069976 h 1285875"/>
                  <a:gd name="T8" fmla="*/ 349250 w 695325"/>
                  <a:gd name="T9" fmla="*/ 1030288 h 1285875"/>
                  <a:gd name="T10" fmla="*/ 477899 w 695325"/>
                  <a:gd name="T11" fmla="*/ 496888 h 1285875"/>
                  <a:gd name="T12" fmla="*/ 520638 w 695325"/>
                  <a:gd name="T13" fmla="*/ 496888 h 1285875"/>
                  <a:gd name="T14" fmla="*/ 536574 w 695325"/>
                  <a:gd name="T15" fmla="*/ 512763 h 1285875"/>
                  <a:gd name="T16" fmla="*/ 520638 w 695325"/>
                  <a:gd name="T17" fmla="*/ 528638 h 1285875"/>
                  <a:gd name="T18" fmla="*/ 477899 w 695325"/>
                  <a:gd name="T19" fmla="*/ 528638 h 1285875"/>
                  <a:gd name="T20" fmla="*/ 461962 w 695325"/>
                  <a:gd name="T21" fmla="*/ 512763 h 1285875"/>
                  <a:gd name="T22" fmla="*/ 477899 w 695325"/>
                  <a:gd name="T23" fmla="*/ 496888 h 1285875"/>
                  <a:gd name="T24" fmla="*/ 477899 w 695325"/>
                  <a:gd name="T25" fmla="*/ 241300 h 1285875"/>
                  <a:gd name="T26" fmla="*/ 520638 w 695325"/>
                  <a:gd name="T27" fmla="*/ 241300 h 1285875"/>
                  <a:gd name="T28" fmla="*/ 536574 w 695325"/>
                  <a:gd name="T29" fmla="*/ 257175 h 1285875"/>
                  <a:gd name="T30" fmla="*/ 520638 w 695325"/>
                  <a:gd name="T31" fmla="*/ 273050 h 1285875"/>
                  <a:gd name="T32" fmla="*/ 477899 w 695325"/>
                  <a:gd name="T33" fmla="*/ 273050 h 1285875"/>
                  <a:gd name="T34" fmla="*/ 461962 w 695325"/>
                  <a:gd name="T35" fmla="*/ 257175 h 1285875"/>
                  <a:gd name="T36" fmla="*/ 477899 w 695325"/>
                  <a:gd name="T37" fmla="*/ 241300 h 1285875"/>
                  <a:gd name="T38" fmla="*/ 97506 w 695325"/>
                  <a:gd name="T39" fmla="*/ 30163 h 1285875"/>
                  <a:gd name="T40" fmla="*/ 31750 w 695325"/>
                  <a:gd name="T41" fmla="*/ 96613 h 1285875"/>
                  <a:gd name="T42" fmla="*/ 31750 w 695325"/>
                  <a:gd name="T43" fmla="*/ 1188390 h 1285875"/>
                  <a:gd name="T44" fmla="*/ 97506 w 695325"/>
                  <a:gd name="T45" fmla="*/ 1254125 h 1285875"/>
                  <a:gd name="T46" fmla="*/ 597105 w 695325"/>
                  <a:gd name="T47" fmla="*/ 1254125 h 1285875"/>
                  <a:gd name="T48" fmla="*/ 663575 w 695325"/>
                  <a:gd name="T49" fmla="*/ 1188390 h 1285875"/>
                  <a:gd name="T50" fmla="*/ 663575 w 695325"/>
                  <a:gd name="T51" fmla="*/ 96613 h 1285875"/>
                  <a:gd name="T52" fmla="*/ 597105 w 695325"/>
                  <a:gd name="T53" fmla="*/ 30163 h 1285875"/>
                  <a:gd name="T54" fmla="*/ 97506 w 695325"/>
                  <a:gd name="T55" fmla="*/ 30163 h 1285875"/>
                  <a:gd name="T56" fmla="*/ 97289 w 695325"/>
                  <a:gd name="T57" fmla="*/ 0 h 1285875"/>
                  <a:gd name="T58" fmla="*/ 597322 w 695325"/>
                  <a:gd name="T59" fmla="*/ 0 h 1285875"/>
                  <a:gd name="T60" fmla="*/ 695325 w 695325"/>
                  <a:gd name="T61" fmla="*/ 97815 h 1285875"/>
                  <a:gd name="T62" fmla="*/ 695325 w 695325"/>
                  <a:gd name="T63" fmla="*/ 1188774 h 1285875"/>
                  <a:gd name="T64" fmla="*/ 597322 w 695325"/>
                  <a:gd name="T65" fmla="*/ 1285875 h 1285875"/>
                  <a:gd name="T66" fmla="*/ 97289 w 695325"/>
                  <a:gd name="T67" fmla="*/ 1285875 h 1285875"/>
                  <a:gd name="T68" fmla="*/ 0 w 695325"/>
                  <a:gd name="T69" fmla="*/ 1188774 h 1285875"/>
                  <a:gd name="T70" fmla="*/ 0 w 695325"/>
                  <a:gd name="T71" fmla="*/ 97815 h 1285875"/>
                  <a:gd name="T72" fmla="*/ 97289 w 695325"/>
                  <a:gd name="T73" fmla="*/ 0 h 128587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774" name="Freeform 194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T0" fmla="*/ 285750 w 569912"/>
                  <a:gd name="T1" fmla="*/ 928688 h 1158875"/>
                  <a:gd name="T2" fmla="*/ 209550 w 569912"/>
                  <a:gd name="T3" fmla="*/ 1005682 h 1158875"/>
                  <a:gd name="T4" fmla="*/ 285750 w 569912"/>
                  <a:gd name="T5" fmla="*/ 1082676 h 1158875"/>
                  <a:gd name="T6" fmla="*/ 361950 w 569912"/>
                  <a:gd name="T7" fmla="*/ 1005682 h 1158875"/>
                  <a:gd name="T8" fmla="*/ 285750 w 569912"/>
                  <a:gd name="T9" fmla="*/ 928688 h 1158875"/>
                  <a:gd name="T10" fmla="*/ 82394 w 569912"/>
                  <a:gd name="T11" fmla="*/ 801688 h 1158875"/>
                  <a:gd name="T12" fmla="*/ 66675 w 569912"/>
                  <a:gd name="T13" fmla="*/ 817136 h 1158875"/>
                  <a:gd name="T14" fmla="*/ 66675 w 569912"/>
                  <a:gd name="T15" fmla="*/ 823455 h 1158875"/>
                  <a:gd name="T16" fmla="*/ 82394 w 569912"/>
                  <a:gd name="T17" fmla="*/ 838200 h 1158875"/>
                  <a:gd name="T18" fmla="*/ 487518 w 569912"/>
                  <a:gd name="T19" fmla="*/ 838200 h 1158875"/>
                  <a:gd name="T20" fmla="*/ 503237 w 569912"/>
                  <a:gd name="T21" fmla="*/ 823455 h 1158875"/>
                  <a:gd name="T22" fmla="*/ 503237 w 569912"/>
                  <a:gd name="T23" fmla="*/ 817136 h 1158875"/>
                  <a:gd name="T24" fmla="*/ 487518 w 569912"/>
                  <a:gd name="T25" fmla="*/ 801688 h 1158875"/>
                  <a:gd name="T26" fmla="*/ 82394 w 569912"/>
                  <a:gd name="T27" fmla="*/ 801688 h 1158875"/>
                  <a:gd name="T28" fmla="*/ 83956 w 569912"/>
                  <a:gd name="T29" fmla="*/ 706438 h 1158875"/>
                  <a:gd name="T30" fmla="*/ 68262 w 569912"/>
                  <a:gd name="T31" fmla="*/ 722253 h 1158875"/>
                  <a:gd name="T32" fmla="*/ 68262 w 569912"/>
                  <a:gd name="T33" fmla="*/ 728723 h 1158875"/>
                  <a:gd name="T34" fmla="*/ 83956 w 569912"/>
                  <a:gd name="T35" fmla="*/ 744538 h 1158875"/>
                  <a:gd name="T36" fmla="*/ 488417 w 569912"/>
                  <a:gd name="T37" fmla="*/ 744538 h 1158875"/>
                  <a:gd name="T38" fmla="*/ 504824 w 569912"/>
                  <a:gd name="T39" fmla="*/ 728723 h 1158875"/>
                  <a:gd name="T40" fmla="*/ 504824 w 569912"/>
                  <a:gd name="T41" fmla="*/ 722253 h 1158875"/>
                  <a:gd name="T42" fmla="*/ 488417 w 569912"/>
                  <a:gd name="T43" fmla="*/ 706438 h 1158875"/>
                  <a:gd name="T44" fmla="*/ 83956 w 569912"/>
                  <a:gd name="T45" fmla="*/ 706438 h 1158875"/>
                  <a:gd name="T46" fmla="*/ 83956 w 569912"/>
                  <a:gd name="T47" fmla="*/ 608013 h 1158875"/>
                  <a:gd name="T48" fmla="*/ 68262 w 569912"/>
                  <a:gd name="T49" fmla="*/ 623169 h 1158875"/>
                  <a:gd name="T50" fmla="*/ 68262 w 569912"/>
                  <a:gd name="T51" fmla="*/ 629369 h 1158875"/>
                  <a:gd name="T52" fmla="*/ 83956 w 569912"/>
                  <a:gd name="T53" fmla="*/ 644525 h 1158875"/>
                  <a:gd name="T54" fmla="*/ 488417 w 569912"/>
                  <a:gd name="T55" fmla="*/ 644525 h 1158875"/>
                  <a:gd name="T56" fmla="*/ 504824 w 569912"/>
                  <a:gd name="T57" fmla="*/ 629369 h 1158875"/>
                  <a:gd name="T58" fmla="*/ 504824 w 569912"/>
                  <a:gd name="T59" fmla="*/ 623169 h 1158875"/>
                  <a:gd name="T60" fmla="*/ 488417 w 569912"/>
                  <a:gd name="T61" fmla="*/ 608013 h 1158875"/>
                  <a:gd name="T62" fmla="*/ 83956 w 569912"/>
                  <a:gd name="T63" fmla="*/ 608013 h 1158875"/>
                  <a:gd name="T64" fmla="*/ 91733 w 569912"/>
                  <a:gd name="T65" fmla="*/ 315913 h 1158875"/>
                  <a:gd name="T66" fmla="*/ 66675 w 569912"/>
                  <a:gd name="T67" fmla="*/ 341049 h 1158875"/>
                  <a:gd name="T68" fmla="*/ 66675 w 569912"/>
                  <a:gd name="T69" fmla="*/ 471753 h 1158875"/>
                  <a:gd name="T70" fmla="*/ 91733 w 569912"/>
                  <a:gd name="T71" fmla="*/ 496888 h 1158875"/>
                  <a:gd name="T72" fmla="*/ 479052 w 569912"/>
                  <a:gd name="T73" fmla="*/ 496888 h 1158875"/>
                  <a:gd name="T74" fmla="*/ 504825 w 569912"/>
                  <a:gd name="T75" fmla="*/ 471753 h 1158875"/>
                  <a:gd name="T76" fmla="*/ 504825 w 569912"/>
                  <a:gd name="T77" fmla="*/ 341049 h 1158875"/>
                  <a:gd name="T78" fmla="*/ 479052 w 569912"/>
                  <a:gd name="T79" fmla="*/ 315913 h 1158875"/>
                  <a:gd name="T80" fmla="*/ 91733 w 569912"/>
                  <a:gd name="T81" fmla="*/ 315913 h 1158875"/>
                  <a:gd name="T82" fmla="*/ 91733 w 569912"/>
                  <a:gd name="T83" fmla="*/ 60325 h 1158875"/>
                  <a:gd name="T84" fmla="*/ 66675 w 569912"/>
                  <a:gd name="T85" fmla="*/ 85461 h 1158875"/>
                  <a:gd name="T86" fmla="*/ 66675 w 569912"/>
                  <a:gd name="T87" fmla="*/ 216165 h 1158875"/>
                  <a:gd name="T88" fmla="*/ 91733 w 569912"/>
                  <a:gd name="T89" fmla="*/ 241300 h 1158875"/>
                  <a:gd name="T90" fmla="*/ 479052 w 569912"/>
                  <a:gd name="T91" fmla="*/ 241300 h 1158875"/>
                  <a:gd name="T92" fmla="*/ 504825 w 569912"/>
                  <a:gd name="T93" fmla="*/ 216165 h 1158875"/>
                  <a:gd name="T94" fmla="*/ 504825 w 569912"/>
                  <a:gd name="T95" fmla="*/ 85461 h 1158875"/>
                  <a:gd name="T96" fmla="*/ 479052 w 569912"/>
                  <a:gd name="T97" fmla="*/ 60325 h 1158875"/>
                  <a:gd name="T98" fmla="*/ 91733 w 569912"/>
                  <a:gd name="T99" fmla="*/ 60325 h 1158875"/>
                  <a:gd name="T100" fmla="*/ 34324 w 569912"/>
                  <a:gd name="T101" fmla="*/ 0 h 1158875"/>
                  <a:gd name="T102" fmla="*/ 534874 w 569912"/>
                  <a:gd name="T103" fmla="*/ 0 h 1158875"/>
                  <a:gd name="T104" fmla="*/ 569912 w 569912"/>
                  <a:gd name="T105" fmla="*/ 34295 h 1158875"/>
                  <a:gd name="T106" fmla="*/ 569912 w 569912"/>
                  <a:gd name="T107" fmla="*/ 1124580 h 1158875"/>
                  <a:gd name="T108" fmla="*/ 534874 w 569912"/>
                  <a:gd name="T109" fmla="*/ 1158875 h 1158875"/>
                  <a:gd name="T110" fmla="*/ 34324 w 569912"/>
                  <a:gd name="T111" fmla="*/ 1158875 h 1158875"/>
                  <a:gd name="T112" fmla="*/ 0 w 569912"/>
                  <a:gd name="T113" fmla="*/ 1124580 h 1158875"/>
                  <a:gd name="T114" fmla="*/ 0 w 569912"/>
                  <a:gd name="T115" fmla="*/ 34295 h 1158875"/>
                  <a:gd name="T116" fmla="*/ 34324 w 569912"/>
                  <a:gd name="T117" fmla="*/ 0 h 115887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72765" name="Group 185"/>
          <p:cNvGrpSpPr>
            <a:grpSpLocks noChangeAspect="1"/>
          </p:cNvGrpSpPr>
          <p:nvPr/>
        </p:nvGrpSpPr>
        <p:grpSpPr bwMode="auto">
          <a:xfrm>
            <a:off x="6510338" y="2816225"/>
            <a:ext cx="457200" cy="457200"/>
            <a:chOff x="5278438" y="2605088"/>
            <a:chExt cx="1646237" cy="1646237"/>
          </a:xfrm>
        </p:grpSpPr>
        <p:sp>
          <p:nvSpPr>
            <p:cNvPr id="72767" name="AutoShape 3"/>
            <p:cNvSpPr>
              <a:spLocks noChangeAspect="1" noChangeArrowheads="1" noTextEdit="1"/>
            </p:cNvSpPr>
            <p:nvPr/>
          </p:nvSpPr>
          <p:spPr bwMode="auto">
            <a:xfrm>
              <a:off x="5278438" y="2605088"/>
              <a:ext cx="1646237" cy="1646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grpSp>
          <p:nvGrpSpPr>
            <p:cNvPr id="72768" name="Group 187"/>
            <p:cNvGrpSpPr>
              <a:grpSpLocks/>
            </p:cNvGrpSpPr>
            <p:nvPr/>
          </p:nvGrpSpPr>
          <p:grpSpPr bwMode="auto">
            <a:xfrm>
              <a:off x="5754688" y="2784475"/>
              <a:ext cx="695325" cy="1285875"/>
              <a:chOff x="5754688" y="2784475"/>
              <a:chExt cx="695325" cy="1285875"/>
            </a:xfrm>
          </p:grpSpPr>
          <p:sp>
            <p:nvSpPr>
              <p:cNvPr id="72769" name="Freeform 188"/>
              <p:cNvSpPr>
                <a:spLocks/>
              </p:cNvSpPr>
              <p:nvPr/>
            </p:nvSpPr>
            <p:spPr bwMode="auto">
              <a:xfrm>
                <a:off x="5754688" y="2784475"/>
                <a:ext cx="695325" cy="1285875"/>
              </a:xfrm>
              <a:custGeom>
                <a:avLst/>
                <a:gdLst>
                  <a:gd name="T0" fmla="*/ 349250 w 695325"/>
                  <a:gd name="T1" fmla="*/ 1030288 h 1285875"/>
                  <a:gd name="T2" fmla="*/ 388938 w 695325"/>
                  <a:gd name="T3" fmla="*/ 1069976 h 1285875"/>
                  <a:gd name="T4" fmla="*/ 349250 w 695325"/>
                  <a:gd name="T5" fmla="*/ 1109664 h 1285875"/>
                  <a:gd name="T6" fmla="*/ 309562 w 695325"/>
                  <a:gd name="T7" fmla="*/ 1069976 h 1285875"/>
                  <a:gd name="T8" fmla="*/ 349250 w 695325"/>
                  <a:gd name="T9" fmla="*/ 1030288 h 1285875"/>
                  <a:gd name="T10" fmla="*/ 477899 w 695325"/>
                  <a:gd name="T11" fmla="*/ 496888 h 1285875"/>
                  <a:gd name="T12" fmla="*/ 520638 w 695325"/>
                  <a:gd name="T13" fmla="*/ 496888 h 1285875"/>
                  <a:gd name="T14" fmla="*/ 536574 w 695325"/>
                  <a:gd name="T15" fmla="*/ 512763 h 1285875"/>
                  <a:gd name="T16" fmla="*/ 520638 w 695325"/>
                  <a:gd name="T17" fmla="*/ 528638 h 1285875"/>
                  <a:gd name="T18" fmla="*/ 477899 w 695325"/>
                  <a:gd name="T19" fmla="*/ 528638 h 1285875"/>
                  <a:gd name="T20" fmla="*/ 461962 w 695325"/>
                  <a:gd name="T21" fmla="*/ 512763 h 1285875"/>
                  <a:gd name="T22" fmla="*/ 477899 w 695325"/>
                  <a:gd name="T23" fmla="*/ 496888 h 1285875"/>
                  <a:gd name="T24" fmla="*/ 477899 w 695325"/>
                  <a:gd name="T25" fmla="*/ 241300 h 1285875"/>
                  <a:gd name="T26" fmla="*/ 520638 w 695325"/>
                  <a:gd name="T27" fmla="*/ 241300 h 1285875"/>
                  <a:gd name="T28" fmla="*/ 536574 w 695325"/>
                  <a:gd name="T29" fmla="*/ 257175 h 1285875"/>
                  <a:gd name="T30" fmla="*/ 520638 w 695325"/>
                  <a:gd name="T31" fmla="*/ 273050 h 1285875"/>
                  <a:gd name="T32" fmla="*/ 477899 w 695325"/>
                  <a:gd name="T33" fmla="*/ 273050 h 1285875"/>
                  <a:gd name="T34" fmla="*/ 461962 w 695325"/>
                  <a:gd name="T35" fmla="*/ 257175 h 1285875"/>
                  <a:gd name="T36" fmla="*/ 477899 w 695325"/>
                  <a:gd name="T37" fmla="*/ 241300 h 1285875"/>
                  <a:gd name="T38" fmla="*/ 97506 w 695325"/>
                  <a:gd name="T39" fmla="*/ 30163 h 1285875"/>
                  <a:gd name="T40" fmla="*/ 31750 w 695325"/>
                  <a:gd name="T41" fmla="*/ 96613 h 1285875"/>
                  <a:gd name="T42" fmla="*/ 31750 w 695325"/>
                  <a:gd name="T43" fmla="*/ 1188390 h 1285875"/>
                  <a:gd name="T44" fmla="*/ 97506 w 695325"/>
                  <a:gd name="T45" fmla="*/ 1254125 h 1285875"/>
                  <a:gd name="T46" fmla="*/ 597105 w 695325"/>
                  <a:gd name="T47" fmla="*/ 1254125 h 1285875"/>
                  <a:gd name="T48" fmla="*/ 663575 w 695325"/>
                  <a:gd name="T49" fmla="*/ 1188390 h 1285875"/>
                  <a:gd name="T50" fmla="*/ 663575 w 695325"/>
                  <a:gd name="T51" fmla="*/ 96613 h 1285875"/>
                  <a:gd name="T52" fmla="*/ 597105 w 695325"/>
                  <a:gd name="T53" fmla="*/ 30163 h 1285875"/>
                  <a:gd name="T54" fmla="*/ 97506 w 695325"/>
                  <a:gd name="T55" fmla="*/ 30163 h 1285875"/>
                  <a:gd name="T56" fmla="*/ 97289 w 695325"/>
                  <a:gd name="T57" fmla="*/ 0 h 1285875"/>
                  <a:gd name="T58" fmla="*/ 597322 w 695325"/>
                  <a:gd name="T59" fmla="*/ 0 h 1285875"/>
                  <a:gd name="T60" fmla="*/ 695325 w 695325"/>
                  <a:gd name="T61" fmla="*/ 97815 h 1285875"/>
                  <a:gd name="T62" fmla="*/ 695325 w 695325"/>
                  <a:gd name="T63" fmla="*/ 1188774 h 1285875"/>
                  <a:gd name="T64" fmla="*/ 597322 w 695325"/>
                  <a:gd name="T65" fmla="*/ 1285875 h 1285875"/>
                  <a:gd name="T66" fmla="*/ 97289 w 695325"/>
                  <a:gd name="T67" fmla="*/ 1285875 h 1285875"/>
                  <a:gd name="T68" fmla="*/ 0 w 695325"/>
                  <a:gd name="T69" fmla="*/ 1188774 h 1285875"/>
                  <a:gd name="T70" fmla="*/ 0 w 695325"/>
                  <a:gd name="T71" fmla="*/ 97815 h 1285875"/>
                  <a:gd name="T72" fmla="*/ 97289 w 695325"/>
                  <a:gd name="T73" fmla="*/ 0 h 128587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95325" h="1285875">
                    <a:moveTo>
                      <a:pt x="349250" y="1030288"/>
                    </a:moveTo>
                    <a:cubicBezTo>
                      <a:pt x="371169" y="1030288"/>
                      <a:pt x="388938" y="1048057"/>
                      <a:pt x="388938" y="1069976"/>
                    </a:cubicBezTo>
                    <a:cubicBezTo>
                      <a:pt x="388938" y="1091895"/>
                      <a:pt x="371169" y="1109664"/>
                      <a:pt x="349250" y="1109664"/>
                    </a:cubicBezTo>
                    <a:cubicBezTo>
                      <a:pt x="327331" y="1109664"/>
                      <a:pt x="309562" y="1091895"/>
                      <a:pt x="309562" y="1069976"/>
                    </a:cubicBezTo>
                    <a:cubicBezTo>
                      <a:pt x="309562" y="1048057"/>
                      <a:pt x="327331" y="1030288"/>
                      <a:pt x="349250" y="1030288"/>
                    </a:cubicBezTo>
                    <a:close/>
                    <a:moveTo>
                      <a:pt x="477899" y="496888"/>
                    </a:moveTo>
                    <a:cubicBezTo>
                      <a:pt x="477899" y="496888"/>
                      <a:pt x="477899" y="496888"/>
                      <a:pt x="520638" y="496888"/>
                    </a:cubicBezTo>
                    <a:cubicBezTo>
                      <a:pt x="529330" y="496888"/>
                      <a:pt x="536574" y="504104"/>
                      <a:pt x="536574" y="512763"/>
                    </a:cubicBezTo>
                    <a:cubicBezTo>
                      <a:pt x="536574" y="521422"/>
                      <a:pt x="529330" y="528638"/>
                      <a:pt x="520638" y="528638"/>
                    </a:cubicBezTo>
                    <a:cubicBezTo>
                      <a:pt x="520638" y="528638"/>
                      <a:pt x="520638" y="528638"/>
                      <a:pt x="477899" y="528638"/>
                    </a:cubicBezTo>
                    <a:cubicBezTo>
                      <a:pt x="469206" y="528638"/>
                      <a:pt x="461962" y="521422"/>
                      <a:pt x="461962" y="512763"/>
                    </a:cubicBezTo>
                    <a:cubicBezTo>
                      <a:pt x="461962" y="504104"/>
                      <a:pt x="469206" y="496888"/>
                      <a:pt x="477899" y="496888"/>
                    </a:cubicBezTo>
                    <a:close/>
                    <a:moveTo>
                      <a:pt x="477899" y="241300"/>
                    </a:moveTo>
                    <a:cubicBezTo>
                      <a:pt x="520638" y="241300"/>
                      <a:pt x="520638" y="241300"/>
                      <a:pt x="520638" y="241300"/>
                    </a:cubicBezTo>
                    <a:cubicBezTo>
                      <a:pt x="529330" y="241300"/>
                      <a:pt x="536574" y="248516"/>
                      <a:pt x="536574" y="257175"/>
                    </a:cubicBezTo>
                    <a:cubicBezTo>
                      <a:pt x="536574" y="266556"/>
                      <a:pt x="529330" y="273050"/>
                      <a:pt x="520638" y="273050"/>
                    </a:cubicBezTo>
                    <a:cubicBezTo>
                      <a:pt x="477899" y="273050"/>
                      <a:pt x="477899" y="273050"/>
                      <a:pt x="477899" y="273050"/>
                    </a:cubicBezTo>
                    <a:cubicBezTo>
                      <a:pt x="469206" y="273050"/>
                      <a:pt x="461962" y="266556"/>
                      <a:pt x="461962" y="257175"/>
                    </a:cubicBezTo>
                    <a:cubicBezTo>
                      <a:pt x="461962" y="248516"/>
                      <a:pt x="469206" y="241300"/>
                      <a:pt x="477899" y="241300"/>
                    </a:cubicBezTo>
                    <a:close/>
                    <a:moveTo>
                      <a:pt x="97506" y="30163"/>
                    </a:moveTo>
                    <a:cubicBezTo>
                      <a:pt x="61054" y="30163"/>
                      <a:pt x="31750" y="59458"/>
                      <a:pt x="31750" y="96613"/>
                    </a:cubicBezTo>
                    <a:cubicBezTo>
                      <a:pt x="31750" y="1188390"/>
                      <a:pt x="31750" y="1188390"/>
                      <a:pt x="31750" y="1188390"/>
                    </a:cubicBezTo>
                    <a:cubicBezTo>
                      <a:pt x="31750" y="1224830"/>
                      <a:pt x="61054" y="1254125"/>
                      <a:pt x="97506" y="1254125"/>
                    </a:cubicBezTo>
                    <a:cubicBezTo>
                      <a:pt x="597105" y="1254125"/>
                      <a:pt x="597105" y="1254125"/>
                      <a:pt x="597105" y="1254125"/>
                    </a:cubicBezTo>
                    <a:cubicBezTo>
                      <a:pt x="633556" y="1254125"/>
                      <a:pt x="663575" y="1224830"/>
                      <a:pt x="663575" y="1188390"/>
                    </a:cubicBezTo>
                    <a:cubicBezTo>
                      <a:pt x="663575" y="96613"/>
                      <a:pt x="663575" y="96613"/>
                      <a:pt x="663575" y="96613"/>
                    </a:cubicBezTo>
                    <a:cubicBezTo>
                      <a:pt x="663575" y="59458"/>
                      <a:pt x="633556" y="30163"/>
                      <a:pt x="597105" y="30163"/>
                    </a:cubicBezTo>
                    <a:cubicBezTo>
                      <a:pt x="97506" y="30163"/>
                      <a:pt x="97506" y="30163"/>
                      <a:pt x="97506" y="30163"/>
                    </a:cubicBezTo>
                    <a:close/>
                    <a:moveTo>
                      <a:pt x="97289" y="0"/>
                    </a:moveTo>
                    <a:cubicBezTo>
                      <a:pt x="597322" y="0"/>
                      <a:pt x="597322" y="0"/>
                      <a:pt x="597322" y="0"/>
                    </a:cubicBezTo>
                    <a:cubicBezTo>
                      <a:pt x="651689" y="0"/>
                      <a:pt x="695325" y="43553"/>
                      <a:pt x="695325" y="97815"/>
                    </a:cubicBezTo>
                    <a:cubicBezTo>
                      <a:pt x="695325" y="1188774"/>
                      <a:pt x="695325" y="1188774"/>
                      <a:pt x="695325" y="1188774"/>
                    </a:cubicBezTo>
                    <a:cubicBezTo>
                      <a:pt x="695325" y="1242323"/>
                      <a:pt x="651689" y="1285875"/>
                      <a:pt x="597322" y="1285875"/>
                    </a:cubicBezTo>
                    <a:cubicBezTo>
                      <a:pt x="97289" y="1285875"/>
                      <a:pt x="97289" y="1285875"/>
                      <a:pt x="97289" y="1285875"/>
                    </a:cubicBezTo>
                    <a:cubicBezTo>
                      <a:pt x="43637" y="1285875"/>
                      <a:pt x="0" y="1242323"/>
                      <a:pt x="0" y="1188774"/>
                    </a:cubicBezTo>
                    <a:cubicBezTo>
                      <a:pt x="0" y="97815"/>
                      <a:pt x="0" y="97815"/>
                      <a:pt x="0" y="97815"/>
                    </a:cubicBezTo>
                    <a:cubicBezTo>
                      <a:pt x="0" y="43553"/>
                      <a:pt x="43637" y="0"/>
                      <a:pt x="97289" y="0"/>
                    </a:cubicBezTo>
                    <a:close/>
                  </a:path>
                </a:pathLst>
              </a:custGeom>
              <a:solidFill>
                <a:srgbClr val="595959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2770" name="Freeform 189"/>
              <p:cNvSpPr>
                <a:spLocks/>
              </p:cNvSpPr>
              <p:nvPr/>
            </p:nvSpPr>
            <p:spPr bwMode="auto">
              <a:xfrm>
                <a:off x="5818188" y="2847975"/>
                <a:ext cx="569912" cy="1158875"/>
              </a:xfrm>
              <a:custGeom>
                <a:avLst/>
                <a:gdLst>
                  <a:gd name="T0" fmla="*/ 285750 w 569912"/>
                  <a:gd name="T1" fmla="*/ 928688 h 1158875"/>
                  <a:gd name="T2" fmla="*/ 209550 w 569912"/>
                  <a:gd name="T3" fmla="*/ 1005682 h 1158875"/>
                  <a:gd name="T4" fmla="*/ 285750 w 569912"/>
                  <a:gd name="T5" fmla="*/ 1082676 h 1158875"/>
                  <a:gd name="T6" fmla="*/ 361950 w 569912"/>
                  <a:gd name="T7" fmla="*/ 1005682 h 1158875"/>
                  <a:gd name="T8" fmla="*/ 285750 w 569912"/>
                  <a:gd name="T9" fmla="*/ 928688 h 1158875"/>
                  <a:gd name="T10" fmla="*/ 82394 w 569912"/>
                  <a:gd name="T11" fmla="*/ 801688 h 1158875"/>
                  <a:gd name="T12" fmla="*/ 66675 w 569912"/>
                  <a:gd name="T13" fmla="*/ 817136 h 1158875"/>
                  <a:gd name="T14" fmla="*/ 66675 w 569912"/>
                  <a:gd name="T15" fmla="*/ 823455 h 1158875"/>
                  <a:gd name="T16" fmla="*/ 82394 w 569912"/>
                  <a:gd name="T17" fmla="*/ 838200 h 1158875"/>
                  <a:gd name="T18" fmla="*/ 487518 w 569912"/>
                  <a:gd name="T19" fmla="*/ 838200 h 1158875"/>
                  <a:gd name="T20" fmla="*/ 503237 w 569912"/>
                  <a:gd name="T21" fmla="*/ 823455 h 1158875"/>
                  <a:gd name="T22" fmla="*/ 503237 w 569912"/>
                  <a:gd name="T23" fmla="*/ 817136 h 1158875"/>
                  <a:gd name="T24" fmla="*/ 487518 w 569912"/>
                  <a:gd name="T25" fmla="*/ 801688 h 1158875"/>
                  <a:gd name="T26" fmla="*/ 82394 w 569912"/>
                  <a:gd name="T27" fmla="*/ 801688 h 1158875"/>
                  <a:gd name="T28" fmla="*/ 83956 w 569912"/>
                  <a:gd name="T29" fmla="*/ 706438 h 1158875"/>
                  <a:gd name="T30" fmla="*/ 68262 w 569912"/>
                  <a:gd name="T31" fmla="*/ 722253 h 1158875"/>
                  <a:gd name="T32" fmla="*/ 68262 w 569912"/>
                  <a:gd name="T33" fmla="*/ 728723 h 1158875"/>
                  <a:gd name="T34" fmla="*/ 83956 w 569912"/>
                  <a:gd name="T35" fmla="*/ 744538 h 1158875"/>
                  <a:gd name="T36" fmla="*/ 488417 w 569912"/>
                  <a:gd name="T37" fmla="*/ 744538 h 1158875"/>
                  <a:gd name="T38" fmla="*/ 504824 w 569912"/>
                  <a:gd name="T39" fmla="*/ 728723 h 1158875"/>
                  <a:gd name="T40" fmla="*/ 504824 w 569912"/>
                  <a:gd name="T41" fmla="*/ 722253 h 1158875"/>
                  <a:gd name="T42" fmla="*/ 488417 w 569912"/>
                  <a:gd name="T43" fmla="*/ 706438 h 1158875"/>
                  <a:gd name="T44" fmla="*/ 83956 w 569912"/>
                  <a:gd name="T45" fmla="*/ 706438 h 1158875"/>
                  <a:gd name="T46" fmla="*/ 83956 w 569912"/>
                  <a:gd name="T47" fmla="*/ 608013 h 1158875"/>
                  <a:gd name="T48" fmla="*/ 68262 w 569912"/>
                  <a:gd name="T49" fmla="*/ 623169 h 1158875"/>
                  <a:gd name="T50" fmla="*/ 68262 w 569912"/>
                  <a:gd name="T51" fmla="*/ 629369 h 1158875"/>
                  <a:gd name="T52" fmla="*/ 83956 w 569912"/>
                  <a:gd name="T53" fmla="*/ 644525 h 1158875"/>
                  <a:gd name="T54" fmla="*/ 488417 w 569912"/>
                  <a:gd name="T55" fmla="*/ 644525 h 1158875"/>
                  <a:gd name="T56" fmla="*/ 504824 w 569912"/>
                  <a:gd name="T57" fmla="*/ 629369 h 1158875"/>
                  <a:gd name="T58" fmla="*/ 504824 w 569912"/>
                  <a:gd name="T59" fmla="*/ 623169 h 1158875"/>
                  <a:gd name="T60" fmla="*/ 488417 w 569912"/>
                  <a:gd name="T61" fmla="*/ 608013 h 1158875"/>
                  <a:gd name="T62" fmla="*/ 83956 w 569912"/>
                  <a:gd name="T63" fmla="*/ 608013 h 1158875"/>
                  <a:gd name="T64" fmla="*/ 91733 w 569912"/>
                  <a:gd name="T65" fmla="*/ 315913 h 1158875"/>
                  <a:gd name="T66" fmla="*/ 66675 w 569912"/>
                  <a:gd name="T67" fmla="*/ 341049 h 1158875"/>
                  <a:gd name="T68" fmla="*/ 66675 w 569912"/>
                  <a:gd name="T69" fmla="*/ 471753 h 1158875"/>
                  <a:gd name="T70" fmla="*/ 91733 w 569912"/>
                  <a:gd name="T71" fmla="*/ 496888 h 1158875"/>
                  <a:gd name="T72" fmla="*/ 479052 w 569912"/>
                  <a:gd name="T73" fmla="*/ 496888 h 1158875"/>
                  <a:gd name="T74" fmla="*/ 504825 w 569912"/>
                  <a:gd name="T75" fmla="*/ 471753 h 1158875"/>
                  <a:gd name="T76" fmla="*/ 504825 w 569912"/>
                  <a:gd name="T77" fmla="*/ 341049 h 1158875"/>
                  <a:gd name="T78" fmla="*/ 479052 w 569912"/>
                  <a:gd name="T79" fmla="*/ 315913 h 1158875"/>
                  <a:gd name="T80" fmla="*/ 91733 w 569912"/>
                  <a:gd name="T81" fmla="*/ 315913 h 1158875"/>
                  <a:gd name="T82" fmla="*/ 91733 w 569912"/>
                  <a:gd name="T83" fmla="*/ 60325 h 1158875"/>
                  <a:gd name="T84" fmla="*/ 66675 w 569912"/>
                  <a:gd name="T85" fmla="*/ 85461 h 1158875"/>
                  <a:gd name="T86" fmla="*/ 66675 w 569912"/>
                  <a:gd name="T87" fmla="*/ 216165 h 1158875"/>
                  <a:gd name="T88" fmla="*/ 91733 w 569912"/>
                  <a:gd name="T89" fmla="*/ 241300 h 1158875"/>
                  <a:gd name="T90" fmla="*/ 479052 w 569912"/>
                  <a:gd name="T91" fmla="*/ 241300 h 1158875"/>
                  <a:gd name="T92" fmla="*/ 504825 w 569912"/>
                  <a:gd name="T93" fmla="*/ 216165 h 1158875"/>
                  <a:gd name="T94" fmla="*/ 504825 w 569912"/>
                  <a:gd name="T95" fmla="*/ 85461 h 1158875"/>
                  <a:gd name="T96" fmla="*/ 479052 w 569912"/>
                  <a:gd name="T97" fmla="*/ 60325 h 1158875"/>
                  <a:gd name="T98" fmla="*/ 91733 w 569912"/>
                  <a:gd name="T99" fmla="*/ 60325 h 1158875"/>
                  <a:gd name="T100" fmla="*/ 34324 w 569912"/>
                  <a:gd name="T101" fmla="*/ 0 h 1158875"/>
                  <a:gd name="T102" fmla="*/ 534874 w 569912"/>
                  <a:gd name="T103" fmla="*/ 0 h 1158875"/>
                  <a:gd name="T104" fmla="*/ 569912 w 569912"/>
                  <a:gd name="T105" fmla="*/ 34295 h 1158875"/>
                  <a:gd name="T106" fmla="*/ 569912 w 569912"/>
                  <a:gd name="T107" fmla="*/ 1124580 h 1158875"/>
                  <a:gd name="T108" fmla="*/ 534874 w 569912"/>
                  <a:gd name="T109" fmla="*/ 1158875 h 1158875"/>
                  <a:gd name="T110" fmla="*/ 34324 w 569912"/>
                  <a:gd name="T111" fmla="*/ 1158875 h 1158875"/>
                  <a:gd name="T112" fmla="*/ 0 w 569912"/>
                  <a:gd name="T113" fmla="*/ 1124580 h 1158875"/>
                  <a:gd name="T114" fmla="*/ 0 w 569912"/>
                  <a:gd name="T115" fmla="*/ 34295 h 1158875"/>
                  <a:gd name="T116" fmla="*/ 34324 w 569912"/>
                  <a:gd name="T117" fmla="*/ 0 h 1158875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569912" h="1158875">
                    <a:moveTo>
                      <a:pt x="285750" y="928688"/>
                    </a:moveTo>
                    <a:cubicBezTo>
                      <a:pt x="243666" y="928688"/>
                      <a:pt x="209550" y="963159"/>
                      <a:pt x="209550" y="1005682"/>
                    </a:cubicBezTo>
                    <a:cubicBezTo>
                      <a:pt x="209550" y="1048205"/>
                      <a:pt x="243666" y="1082676"/>
                      <a:pt x="285750" y="1082676"/>
                    </a:cubicBezTo>
                    <a:cubicBezTo>
                      <a:pt x="327834" y="1082676"/>
                      <a:pt x="361950" y="1048205"/>
                      <a:pt x="361950" y="1005682"/>
                    </a:cubicBezTo>
                    <a:cubicBezTo>
                      <a:pt x="361950" y="963159"/>
                      <a:pt x="327834" y="928688"/>
                      <a:pt x="285750" y="928688"/>
                    </a:cubicBezTo>
                    <a:close/>
                    <a:moveTo>
                      <a:pt x="82394" y="801688"/>
                    </a:moveTo>
                    <a:cubicBezTo>
                      <a:pt x="73820" y="801688"/>
                      <a:pt x="66675" y="808710"/>
                      <a:pt x="66675" y="817136"/>
                    </a:cubicBezTo>
                    <a:cubicBezTo>
                      <a:pt x="66675" y="817136"/>
                      <a:pt x="66675" y="817136"/>
                      <a:pt x="66675" y="823455"/>
                    </a:cubicBezTo>
                    <a:cubicBezTo>
                      <a:pt x="66675" y="831179"/>
                      <a:pt x="73820" y="838200"/>
                      <a:pt x="82394" y="838200"/>
                    </a:cubicBezTo>
                    <a:cubicBezTo>
                      <a:pt x="82394" y="838200"/>
                      <a:pt x="82394" y="838200"/>
                      <a:pt x="487518" y="838200"/>
                    </a:cubicBezTo>
                    <a:cubicBezTo>
                      <a:pt x="496092" y="838200"/>
                      <a:pt x="503237" y="831179"/>
                      <a:pt x="503237" y="823455"/>
                    </a:cubicBezTo>
                    <a:cubicBezTo>
                      <a:pt x="503237" y="823455"/>
                      <a:pt x="503237" y="823455"/>
                      <a:pt x="503237" y="817136"/>
                    </a:cubicBezTo>
                    <a:cubicBezTo>
                      <a:pt x="503237" y="808710"/>
                      <a:pt x="496092" y="801688"/>
                      <a:pt x="487518" y="801688"/>
                    </a:cubicBezTo>
                    <a:cubicBezTo>
                      <a:pt x="487518" y="801688"/>
                      <a:pt x="487518" y="801688"/>
                      <a:pt x="82394" y="801688"/>
                    </a:cubicBezTo>
                    <a:close/>
                    <a:moveTo>
                      <a:pt x="83956" y="706438"/>
                    </a:moveTo>
                    <a:cubicBezTo>
                      <a:pt x="75396" y="706438"/>
                      <a:pt x="68262" y="713627"/>
                      <a:pt x="68262" y="722253"/>
                    </a:cubicBezTo>
                    <a:cubicBezTo>
                      <a:pt x="68262" y="722253"/>
                      <a:pt x="68262" y="722253"/>
                      <a:pt x="68262" y="728723"/>
                    </a:cubicBezTo>
                    <a:cubicBezTo>
                      <a:pt x="68262" y="737349"/>
                      <a:pt x="75396" y="744538"/>
                      <a:pt x="83956" y="744538"/>
                    </a:cubicBezTo>
                    <a:cubicBezTo>
                      <a:pt x="83956" y="744538"/>
                      <a:pt x="83956" y="744538"/>
                      <a:pt x="488417" y="744538"/>
                    </a:cubicBezTo>
                    <a:cubicBezTo>
                      <a:pt x="496978" y="744538"/>
                      <a:pt x="504824" y="737349"/>
                      <a:pt x="504824" y="728723"/>
                    </a:cubicBezTo>
                    <a:cubicBezTo>
                      <a:pt x="504824" y="728723"/>
                      <a:pt x="504824" y="728723"/>
                      <a:pt x="504824" y="722253"/>
                    </a:cubicBezTo>
                    <a:cubicBezTo>
                      <a:pt x="504824" y="713627"/>
                      <a:pt x="496978" y="706438"/>
                      <a:pt x="488417" y="706438"/>
                    </a:cubicBezTo>
                    <a:cubicBezTo>
                      <a:pt x="488417" y="706438"/>
                      <a:pt x="488417" y="706438"/>
                      <a:pt x="83956" y="706438"/>
                    </a:cubicBezTo>
                    <a:close/>
                    <a:moveTo>
                      <a:pt x="83956" y="608013"/>
                    </a:moveTo>
                    <a:cubicBezTo>
                      <a:pt x="75396" y="608013"/>
                      <a:pt x="68262" y="614902"/>
                      <a:pt x="68262" y="623169"/>
                    </a:cubicBezTo>
                    <a:cubicBezTo>
                      <a:pt x="68262" y="623169"/>
                      <a:pt x="68262" y="623169"/>
                      <a:pt x="68262" y="629369"/>
                    </a:cubicBezTo>
                    <a:cubicBezTo>
                      <a:pt x="68262" y="637636"/>
                      <a:pt x="75396" y="644525"/>
                      <a:pt x="83956" y="644525"/>
                    </a:cubicBezTo>
                    <a:cubicBezTo>
                      <a:pt x="83956" y="644525"/>
                      <a:pt x="83956" y="644525"/>
                      <a:pt x="488417" y="644525"/>
                    </a:cubicBezTo>
                    <a:cubicBezTo>
                      <a:pt x="496978" y="644525"/>
                      <a:pt x="504824" y="637636"/>
                      <a:pt x="504824" y="629369"/>
                    </a:cubicBezTo>
                    <a:cubicBezTo>
                      <a:pt x="504824" y="629369"/>
                      <a:pt x="504824" y="629369"/>
                      <a:pt x="504824" y="623169"/>
                    </a:cubicBezTo>
                    <a:cubicBezTo>
                      <a:pt x="504824" y="614902"/>
                      <a:pt x="496978" y="608013"/>
                      <a:pt x="488417" y="608013"/>
                    </a:cubicBezTo>
                    <a:cubicBezTo>
                      <a:pt x="488417" y="608013"/>
                      <a:pt x="488417" y="608013"/>
                      <a:pt x="83956" y="608013"/>
                    </a:cubicBezTo>
                    <a:close/>
                    <a:moveTo>
                      <a:pt x="91733" y="315913"/>
                    </a:moveTo>
                    <a:cubicBezTo>
                      <a:pt x="78130" y="315913"/>
                      <a:pt x="66675" y="327404"/>
                      <a:pt x="66675" y="341049"/>
                    </a:cubicBezTo>
                    <a:cubicBezTo>
                      <a:pt x="66675" y="341049"/>
                      <a:pt x="66675" y="341049"/>
                      <a:pt x="66675" y="471753"/>
                    </a:cubicBezTo>
                    <a:cubicBezTo>
                      <a:pt x="66675" y="485398"/>
                      <a:pt x="78130" y="496888"/>
                      <a:pt x="91733" y="496888"/>
                    </a:cubicBezTo>
                    <a:cubicBezTo>
                      <a:pt x="91733" y="496888"/>
                      <a:pt x="91733" y="496888"/>
                      <a:pt x="479052" y="496888"/>
                    </a:cubicBezTo>
                    <a:cubicBezTo>
                      <a:pt x="492654" y="496888"/>
                      <a:pt x="504825" y="485398"/>
                      <a:pt x="504825" y="471753"/>
                    </a:cubicBezTo>
                    <a:cubicBezTo>
                      <a:pt x="504825" y="471753"/>
                      <a:pt x="504825" y="471753"/>
                      <a:pt x="504825" y="341049"/>
                    </a:cubicBezTo>
                    <a:cubicBezTo>
                      <a:pt x="504825" y="327404"/>
                      <a:pt x="492654" y="315913"/>
                      <a:pt x="479052" y="315913"/>
                    </a:cubicBezTo>
                    <a:cubicBezTo>
                      <a:pt x="479052" y="315913"/>
                      <a:pt x="479052" y="315913"/>
                      <a:pt x="91733" y="315913"/>
                    </a:cubicBezTo>
                    <a:close/>
                    <a:moveTo>
                      <a:pt x="91733" y="60325"/>
                    </a:moveTo>
                    <a:cubicBezTo>
                      <a:pt x="78130" y="60325"/>
                      <a:pt x="66675" y="71816"/>
                      <a:pt x="66675" y="85461"/>
                    </a:cubicBezTo>
                    <a:cubicBezTo>
                      <a:pt x="66675" y="85461"/>
                      <a:pt x="66675" y="85461"/>
                      <a:pt x="66675" y="216165"/>
                    </a:cubicBezTo>
                    <a:cubicBezTo>
                      <a:pt x="66675" y="230528"/>
                      <a:pt x="78130" y="241300"/>
                      <a:pt x="91733" y="241300"/>
                    </a:cubicBezTo>
                    <a:cubicBezTo>
                      <a:pt x="91733" y="241300"/>
                      <a:pt x="91733" y="241300"/>
                      <a:pt x="479052" y="241300"/>
                    </a:cubicBezTo>
                    <a:cubicBezTo>
                      <a:pt x="492654" y="241300"/>
                      <a:pt x="504825" y="230528"/>
                      <a:pt x="504825" y="216165"/>
                    </a:cubicBezTo>
                    <a:cubicBezTo>
                      <a:pt x="504825" y="216165"/>
                      <a:pt x="504825" y="216165"/>
                      <a:pt x="504825" y="85461"/>
                    </a:cubicBezTo>
                    <a:cubicBezTo>
                      <a:pt x="504825" y="71816"/>
                      <a:pt x="492654" y="60325"/>
                      <a:pt x="479052" y="60325"/>
                    </a:cubicBezTo>
                    <a:cubicBezTo>
                      <a:pt x="479052" y="60325"/>
                      <a:pt x="479052" y="60325"/>
                      <a:pt x="91733" y="60325"/>
                    </a:cubicBezTo>
                    <a:close/>
                    <a:moveTo>
                      <a:pt x="34324" y="0"/>
                    </a:moveTo>
                    <a:cubicBezTo>
                      <a:pt x="34324" y="0"/>
                      <a:pt x="34324" y="0"/>
                      <a:pt x="534874" y="0"/>
                    </a:cubicBezTo>
                    <a:cubicBezTo>
                      <a:pt x="554181" y="0"/>
                      <a:pt x="569912" y="15004"/>
                      <a:pt x="569912" y="34295"/>
                    </a:cubicBezTo>
                    <a:cubicBezTo>
                      <a:pt x="569912" y="34295"/>
                      <a:pt x="569912" y="34295"/>
                      <a:pt x="569912" y="1124580"/>
                    </a:cubicBezTo>
                    <a:cubicBezTo>
                      <a:pt x="569912" y="1143871"/>
                      <a:pt x="554181" y="1158875"/>
                      <a:pt x="534874" y="1158875"/>
                    </a:cubicBezTo>
                    <a:cubicBezTo>
                      <a:pt x="534874" y="1158875"/>
                      <a:pt x="534874" y="1158875"/>
                      <a:pt x="34324" y="1158875"/>
                    </a:cubicBezTo>
                    <a:cubicBezTo>
                      <a:pt x="15017" y="1158875"/>
                      <a:pt x="0" y="1143871"/>
                      <a:pt x="0" y="1124580"/>
                    </a:cubicBezTo>
                    <a:cubicBezTo>
                      <a:pt x="0" y="1124580"/>
                      <a:pt x="0" y="1124580"/>
                      <a:pt x="0" y="34295"/>
                    </a:cubicBezTo>
                    <a:cubicBezTo>
                      <a:pt x="0" y="15004"/>
                      <a:pt x="15017" y="0"/>
                      <a:pt x="34324" y="0"/>
                    </a:cubicBezTo>
                    <a:close/>
                  </a:path>
                </a:pathLst>
              </a:custGeom>
              <a:solidFill>
                <a:srgbClr val="9A9A9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37" name="Заголовок 36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617538" y="430213"/>
            <a:ext cx="10523537" cy="29845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u-RU" sz="2160" b="1" dirty="0"/>
              <a:t>Модель функционирования системы маркировки</a:t>
            </a:r>
          </a:p>
        </p:txBody>
      </p:sp>
    </p:spTree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732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3338" y="19050"/>
          <a:ext cx="1587" cy="1588"/>
        </p:xfrm>
        <a:graphic>
          <a:graphicData uri="http://schemas.openxmlformats.org/presentationml/2006/ole">
            <p:oleObj spid="_x0000_s73732" name="think-cell Slide" r:id="rId4" imgW="360" imgH="360" progId="">
              <p:embed/>
            </p:oleObj>
          </a:graphicData>
        </a:graphic>
      </p:graphicFrame>
      <p:pic>
        <p:nvPicPr>
          <p:cNvPr id="73733" name="Picture 43"/>
          <p:cNvPicPr preferRelativeResize="0">
            <a:picLocks noChangeAspect="1" noChangeArrowheads="1"/>
          </p:cNvPicPr>
          <p:nvPr/>
        </p:nvPicPr>
        <p:blipFill>
          <a:blip r:embed="rId5"/>
          <a:srcRect l="-56" t="571" r="55" b="32591"/>
          <a:stretch>
            <a:fillRect/>
          </a:stretch>
        </p:blipFill>
        <p:spPr bwMode="auto">
          <a:xfrm>
            <a:off x="11339513" y="119063"/>
            <a:ext cx="72707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7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566738" y="436563"/>
            <a:ext cx="10880725" cy="298450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PT Sans Caption" panose="020B0603020203020204" charset="0"/>
                <a:ea typeface="+mj-ea"/>
                <a:cs typeface="+mj-cs"/>
                <a:sym typeface="PT Sans Caption" panose="020B0603020203020204" charset="0"/>
              </a:defRPr>
            </a:lvl1pPr>
          </a:lstStyle>
          <a:p>
            <a:pPr defTabSz="839852" fontAlgn="auto">
              <a:spcAft>
                <a:spcPts val="0"/>
              </a:spcAft>
              <a:defRPr/>
            </a:pPr>
            <a:r>
              <a:rPr lang="ru-RU" sz="2162" b="1" dirty="0">
                <a:latin typeface="PT Sans Caption" panose="020B0603020203020204"/>
                <a:sym typeface="+mj-lt"/>
              </a:rPr>
              <a:t>График обязательной маркировки</a:t>
            </a:r>
            <a:endParaRPr lang="bg-BG" sz="2162" b="1" dirty="0">
              <a:latin typeface="PT Sans Caption" panose="020B0603020203020204"/>
              <a:sym typeface="+mj-lt"/>
            </a:endParaRPr>
          </a:p>
        </p:txBody>
      </p:sp>
      <p:sp>
        <p:nvSpPr>
          <p:cNvPr id="111" name="Straight Arrow Connector 5">
            <a:extLst>
              <a:ext uri="{FF2B5EF4-FFF2-40B4-BE49-F238E27FC236}"/>
            </a:extLst>
          </p:cNvPr>
          <p:cNvSpPr/>
          <p:nvPr/>
        </p:nvSpPr>
        <p:spPr>
          <a:xfrm>
            <a:off x="644525" y="2492375"/>
            <a:ext cx="10634663" cy="0"/>
          </a:xfrm>
          <a:prstGeom prst="line">
            <a:avLst/>
          </a:prstGeom>
          <a:ln w="19050" cap="rnd">
            <a:solidFill>
              <a:srgbClr val="58595B"/>
            </a:solidFill>
            <a:tailEnd type="triangle"/>
          </a:ln>
        </p:spPr>
        <p:txBody>
          <a:bodyPr lIns="45481" rIns="45481"/>
          <a:lstStyle/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88" dirty="0">
              <a:solidFill>
                <a:srgbClr val="212121">
                  <a:lumOff val="21764"/>
                </a:srgbClr>
              </a:solidFill>
              <a:latin typeface="+mn-lt"/>
              <a:cs typeface="+mn-cs"/>
            </a:endParaRPr>
          </a:p>
        </p:txBody>
      </p:sp>
      <p:grpSp>
        <p:nvGrpSpPr>
          <p:cNvPr id="73736" name="Group 18"/>
          <p:cNvGrpSpPr>
            <a:grpSpLocks/>
          </p:cNvGrpSpPr>
          <p:nvPr/>
        </p:nvGrpSpPr>
        <p:grpSpPr bwMode="auto">
          <a:xfrm>
            <a:off x="2708275" y="2778125"/>
            <a:ext cx="1236663" cy="669925"/>
            <a:chOff x="0" y="0"/>
            <a:chExt cx="1243468" cy="672113"/>
          </a:xfrm>
        </p:grpSpPr>
        <p:sp>
          <p:nvSpPr>
            <p:cNvPr id="113" name="TextBox 6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0" y="484176"/>
              <a:ext cx="1243468" cy="1879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0" tIns="0" rIns="0" bIns="0">
              <a:spAutoFit/>
            </a:bodyPr>
            <a:lstStyle>
              <a:lvl1pPr algn="ctr">
                <a:defRPr sz="1200">
                  <a:solidFill>
                    <a:srgbClr val="58595B"/>
                  </a:solidFill>
                </a:defRPr>
              </a:lvl1pPr>
            </a:lstStyle>
            <a:p>
              <a:pPr defTabSz="121525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94" dirty="0">
                  <a:latin typeface="+mn-lt"/>
                  <a:cs typeface="+mn-cs"/>
                </a:rPr>
                <a:t>Обувь</a:t>
              </a:r>
            </a:p>
          </p:txBody>
        </p:sp>
        <p:pic>
          <p:nvPicPr>
            <p:cNvPr id="73781" name="Picture 10" descr="Picture 10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16849" y="0"/>
              <a:ext cx="409769" cy="316640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</p:grpSp>
      <p:sp>
        <p:nvSpPr>
          <p:cNvPr id="115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6940550" y="3259138"/>
            <a:ext cx="1238250" cy="37623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>
            <a:spAutoFit/>
          </a:bodyPr>
          <a:lstStyle/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  <a:latin typeface="+mn-lt"/>
                <a:cs typeface="+mn-cs"/>
              </a:rPr>
              <a:t>Духи и туалетная </a:t>
            </a:r>
          </a:p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  <a:latin typeface="+mn-lt"/>
                <a:cs typeface="+mn-cs"/>
              </a:rPr>
              <a:t>вода</a:t>
            </a:r>
          </a:p>
        </p:txBody>
      </p:sp>
      <p:sp>
        <p:nvSpPr>
          <p:cNvPr id="116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3994150" y="3259138"/>
            <a:ext cx="1236663" cy="37623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>
            <a:spAutoFit/>
          </a:bodyPr>
          <a:lstStyle/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  <a:latin typeface="+mn-lt"/>
                <a:cs typeface="+mn-cs"/>
              </a:rPr>
              <a:t>Пальто </a:t>
            </a:r>
          </a:p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  <a:latin typeface="+mn-lt"/>
                <a:cs typeface="+mn-cs"/>
              </a:rPr>
              <a:t>и полупальто</a:t>
            </a:r>
          </a:p>
        </p:txBody>
      </p:sp>
      <p:sp>
        <p:nvSpPr>
          <p:cNvPr id="117" name="TextBox 10">
            <a:extLst>
              <a:ext uri="{FF2B5EF4-FFF2-40B4-BE49-F238E27FC236}"/>
            </a:extLst>
          </p:cNvPr>
          <p:cNvSpPr txBox="1"/>
          <p:nvPr/>
        </p:nvSpPr>
        <p:spPr>
          <a:xfrm>
            <a:off x="5456238" y="3259138"/>
            <a:ext cx="1236662" cy="188912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>
            <a:spAutoFit/>
          </a:bodyPr>
          <a:lstStyle>
            <a:lvl1pPr algn="ctr">
              <a:defRPr sz="1200">
                <a:solidFill>
                  <a:srgbClr val="58595B"/>
                </a:solidFill>
              </a:defRPr>
            </a:lvl1pPr>
          </a:lstStyle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94" dirty="0">
                <a:latin typeface="+mn-lt"/>
                <a:cs typeface="+mn-cs"/>
              </a:rPr>
              <a:t>Плащи и куртки</a:t>
            </a:r>
          </a:p>
        </p:txBody>
      </p:sp>
      <p:sp>
        <p:nvSpPr>
          <p:cNvPr id="118" name="TextBox 11">
            <a:extLst>
              <a:ext uri="{FF2B5EF4-FFF2-40B4-BE49-F238E27FC236}"/>
            </a:extLst>
          </p:cNvPr>
          <p:cNvSpPr txBox="1"/>
          <p:nvPr/>
        </p:nvSpPr>
        <p:spPr>
          <a:xfrm>
            <a:off x="8448675" y="3259138"/>
            <a:ext cx="1238250" cy="37623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>
            <a:spAutoFit/>
          </a:bodyPr>
          <a:lstStyle/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  <a:latin typeface="+mn-lt"/>
                <a:cs typeface="+mn-cs"/>
              </a:rPr>
              <a:t>Туалетное </a:t>
            </a:r>
          </a:p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8595B"/>
                </a:solidFill>
              </a:defRPr>
            </a:pPr>
            <a:r>
              <a:rPr lang="ru-RU" sz="1194" dirty="0">
                <a:solidFill>
                  <a:srgbClr val="58595B"/>
                </a:solidFill>
                <a:latin typeface="+mn-lt"/>
                <a:cs typeface="+mn-cs"/>
              </a:rPr>
              <a:t>и кухонное белье</a:t>
            </a:r>
          </a:p>
        </p:txBody>
      </p:sp>
      <p:pic>
        <p:nvPicPr>
          <p:cNvPr id="73741" name="Picture 13" descr="Picture 1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342188" y="2722563"/>
            <a:ext cx="434975" cy="427037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73742" name="Picture 21" descr="Picture 21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418013" y="2732088"/>
            <a:ext cx="388937" cy="407987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73743" name="Picture 23" descr="Picture 23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855075" y="2770188"/>
            <a:ext cx="425450" cy="333375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pic>
        <p:nvPicPr>
          <p:cNvPr id="73744" name="Picture 25" descr="Picture 25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884863" y="2722563"/>
            <a:ext cx="379412" cy="427037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grpSp>
        <p:nvGrpSpPr>
          <p:cNvPr id="73745" name="Group 29"/>
          <p:cNvGrpSpPr>
            <a:grpSpLocks/>
          </p:cNvGrpSpPr>
          <p:nvPr/>
        </p:nvGrpSpPr>
        <p:grpSpPr bwMode="auto">
          <a:xfrm>
            <a:off x="4013200" y="4014788"/>
            <a:ext cx="5692775" cy="904875"/>
            <a:chOff x="0" y="0"/>
            <a:chExt cx="5722231" cy="909931"/>
          </a:xfrm>
        </p:grpSpPr>
        <p:sp>
          <p:nvSpPr>
            <p:cNvPr id="124" name="TextBox 17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1469653" y="533188"/>
              <a:ext cx="1243061" cy="37674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0" tIns="0" rIns="0" bIns="0">
              <a:spAutoFit/>
            </a:bodyPr>
            <a:lstStyle/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Трикотажные </a:t>
              </a:r>
            </a:p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блузки</a:t>
              </a:r>
            </a:p>
          </p:txBody>
        </p:sp>
        <p:sp>
          <p:nvSpPr>
            <p:cNvPr id="125" name="TextBox 19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0" y="533188"/>
              <a:ext cx="1243062" cy="37674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0" tIns="0" rIns="0" bIns="0">
              <a:spAutoFit/>
            </a:bodyPr>
            <a:lstStyle/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Ветровки и </a:t>
              </a:r>
            </a:p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штормовки</a:t>
              </a:r>
            </a:p>
          </p:txBody>
        </p:sp>
        <p:sp>
          <p:nvSpPr>
            <p:cNvPr id="126" name="TextBox 20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4479170" y="533188"/>
              <a:ext cx="1243061" cy="1883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0" tIns="0" rIns="0" bIns="0">
              <a:spAutoFit/>
            </a:bodyPr>
            <a:lstStyle>
              <a:lvl1pPr algn="ctr">
                <a:defRPr sz="1200">
                  <a:solidFill>
                    <a:srgbClr val="58595B"/>
                  </a:solidFill>
                </a:defRPr>
              </a:lvl1pPr>
            </a:lstStyle>
            <a:p>
              <a:pPr defTabSz="121525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94" dirty="0">
                  <a:latin typeface="+mn-lt"/>
                  <a:cs typeface="+mn-cs"/>
                </a:rPr>
                <a:t>Постельное белье</a:t>
              </a:r>
            </a:p>
          </p:txBody>
        </p:sp>
        <p:sp>
          <p:nvSpPr>
            <p:cNvPr id="127" name="TextBox 22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2963242" y="533188"/>
              <a:ext cx="1243061" cy="18837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0" tIns="0" rIns="0" bIns="0">
              <a:spAutoFit/>
            </a:bodyPr>
            <a:lstStyle>
              <a:lvl1pPr algn="ctr">
                <a:defRPr sz="1200">
                  <a:solidFill>
                    <a:srgbClr val="58595B"/>
                  </a:solidFill>
                </a:defRPr>
              </a:lvl1pPr>
            </a:lstStyle>
            <a:p>
              <a:pPr defTabSz="121525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94" dirty="0">
                  <a:latin typeface="+mn-lt"/>
                  <a:cs typeface="+mn-cs"/>
                </a:rPr>
                <a:t>Столовое белье</a:t>
              </a:r>
            </a:p>
          </p:txBody>
        </p:sp>
        <p:pic>
          <p:nvPicPr>
            <p:cNvPr id="73776" name="Picture 15" descr="Picture 15"/>
            <p:cNvPicPr>
              <a:picLocks noChangeAspect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4881643" y="0"/>
              <a:ext cx="437708" cy="419083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  <p:pic>
          <p:nvPicPr>
            <p:cNvPr id="73777" name="Picture 17" descr="Picture 17"/>
            <p:cNvPicPr>
              <a:picLocks noChangeAspect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1933051" y="4656"/>
              <a:ext cx="316641" cy="409771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  <p:pic>
          <p:nvPicPr>
            <p:cNvPr id="73778" name="Picture 19" descr="Picture 19"/>
            <p:cNvPicPr>
              <a:picLocks noChangeAspect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3360783" y="13969"/>
              <a:ext cx="447021" cy="391144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  <p:pic>
          <p:nvPicPr>
            <p:cNvPr id="73779" name="Picture 29" descr="Picture 29"/>
            <p:cNvPicPr>
              <a:picLocks noChangeAspect="1"/>
            </p:cNvPicPr>
            <p:nvPr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444787" y="4656"/>
              <a:ext cx="353892" cy="409771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</p:grpSp>
      <p:grpSp>
        <p:nvGrpSpPr>
          <p:cNvPr id="73746" name="Group 164863"/>
          <p:cNvGrpSpPr>
            <a:grpSpLocks/>
          </p:cNvGrpSpPr>
          <p:nvPr/>
        </p:nvGrpSpPr>
        <p:grpSpPr bwMode="auto">
          <a:xfrm>
            <a:off x="4432300" y="5033963"/>
            <a:ext cx="4768850" cy="928687"/>
            <a:chOff x="0" y="0"/>
            <a:chExt cx="4794047" cy="932937"/>
          </a:xfrm>
        </p:grpSpPr>
        <p:sp>
          <p:nvSpPr>
            <p:cNvPr id="133" name="TextBox 28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3258803" y="556572"/>
              <a:ext cx="1535244" cy="3763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0" tIns="0" rIns="0" bIns="0">
              <a:spAutoFit/>
            </a:bodyPr>
            <a:lstStyle/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Фотоаппараты </a:t>
              </a:r>
            </a:p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и лампы-вспышки</a:t>
              </a:r>
            </a:p>
          </p:txBody>
        </p:sp>
        <p:pic>
          <p:nvPicPr>
            <p:cNvPr id="73769" name="Picture 27" descr="Picture 27"/>
            <p:cNvPicPr>
              <a:picLocks noChangeAspect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3821242" y="0"/>
              <a:ext cx="409770" cy="409770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  <p:sp>
          <p:nvSpPr>
            <p:cNvPr id="135" name="TextBox 30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0" y="556572"/>
              <a:ext cx="2093805" cy="37636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lIns="0" tIns="0" rIns="0" bIns="0">
              <a:spAutoFit/>
            </a:bodyPr>
            <a:lstStyle/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Шины и </a:t>
              </a:r>
              <a:r>
                <a:rPr lang="ru-RU" sz="1194" dirty="0" err="1">
                  <a:solidFill>
                    <a:srgbClr val="58595B"/>
                  </a:solidFill>
                  <a:latin typeface="+mn-lt"/>
                  <a:cs typeface="+mn-cs"/>
                </a:rPr>
                <a:t>пневма</a:t>
              </a:r>
              <a:r>
                <a:rPr lang="ru-RU" sz="1194">
                  <a:solidFill>
                    <a:srgbClr val="58595B"/>
                  </a:solidFill>
                  <a:latin typeface="+mn-lt"/>
                  <a:cs typeface="+mn-cs"/>
                </a:rPr>
                <a:t>-</a:t>
              </a:r>
              <a:br>
                <a:rPr lang="ru-RU" sz="1194">
                  <a:solidFill>
                    <a:srgbClr val="58595B"/>
                  </a:solidFill>
                  <a:latin typeface="+mn-lt"/>
                  <a:cs typeface="+mn-cs"/>
                </a:rPr>
              </a:br>
              <a:r>
                <a:rPr lang="ru-RU" sz="1194">
                  <a:solidFill>
                    <a:srgbClr val="58595B"/>
                  </a:solidFill>
                  <a:latin typeface="+mn-lt"/>
                  <a:cs typeface="+mn-cs"/>
                </a:rPr>
                <a:t>тические покрышки</a:t>
              </a:r>
            </a:p>
          </p:txBody>
        </p:sp>
        <p:pic>
          <p:nvPicPr>
            <p:cNvPr id="73771" name="Picture 31" descr="Picture 31"/>
            <p:cNvPicPr>
              <a:picLocks noChangeAspect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861009" y="9313"/>
              <a:ext cx="372518" cy="391144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</p:grpSp>
      <p:sp>
        <p:nvSpPr>
          <p:cNvPr id="137" name="Oval 21">
            <a:extLst>
              <a:ext uri="{FF2B5EF4-FFF2-40B4-BE49-F238E27FC236}"/>
            </a:extLst>
          </p:cNvPr>
          <p:cNvSpPr/>
          <p:nvPr/>
        </p:nvSpPr>
        <p:spPr>
          <a:xfrm>
            <a:off x="1658938" y="2405063"/>
            <a:ext cx="176212" cy="174625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58595B"/>
            </a:solidFill>
            <a:tailEnd type="triangle"/>
          </a:ln>
        </p:spPr>
        <p:txBody>
          <a:bodyPr lIns="45481" rIns="45481" anchor="ctr"/>
          <a:lstStyle/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98A6CC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 sz="1094">
              <a:solidFill>
                <a:srgbClr val="98A6CC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38" name="Oval 34">
            <a:extLst>
              <a:ext uri="{FF2B5EF4-FFF2-40B4-BE49-F238E27FC236}"/>
            </a:extLst>
          </p:cNvPr>
          <p:cNvSpPr/>
          <p:nvPr/>
        </p:nvSpPr>
        <p:spPr>
          <a:xfrm>
            <a:off x="3308350" y="2405063"/>
            <a:ext cx="176213" cy="174625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58595B"/>
            </a:solidFill>
            <a:tailEnd type="triangle"/>
          </a:ln>
        </p:spPr>
        <p:txBody>
          <a:bodyPr lIns="45481" rIns="45481" anchor="ctr"/>
          <a:lstStyle/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98A6CC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 sz="1094">
              <a:solidFill>
                <a:srgbClr val="98A6CC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39" name="Oval 35">
            <a:extLst>
              <a:ext uri="{FF2B5EF4-FFF2-40B4-BE49-F238E27FC236}"/>
            </a:extLst>
          </p:cNvPr>
          <p:cNvSpPr/>
          <p:nvPr/>
        </p:nvSpPr>
        <p:spPr>
          <a:xfrm>
            <a:off x="6772275" y="2405063"/>
            <a:ext cx="174625" cy="174625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58595B"/>
            </a:solidFill>
            <a:tailEnd type="triangle"/>
          </a:ln>
        </p:spPr>
        <p:txBody>
          <a:bodyPr lIns="45481" rIns="45481" anchor="ctr"/>
          <a:lstStyle/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 sz="1094">
              <a:solidFill>
                <a:srgbClr val="FFFFFF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40" name="Rectangle 24">
            <a:extLst>
              <a:ext uri="{FF2B5EF4-FFF2-40B4-BE49-F238E27FC236}"/>
            </a:extLst>
          </p:cNvPr>
          <p:cNvSpPr/>
          <p:nvPr/>
        </p:nvSpPr>
        <p:spPr>
          <a:xfrm>
            <a:off x="641350" y="2357438"/>
            <a:ext cx="647700" cy="34448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/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190" dirty="0">
                <a:latin typeface="+mn-lt"/>
                <a:cs typeface="+mn-cs"/>
              </a:rPr>
              <a:t>2019 </a:t>
            </a:r>
          </a:p>
        </p:txBody>
      </p:sp>
      <p:sp>
        <p:nvSpPr>
          <p:cNvPr id="141" name="Rectangle 43">
            <a:extLst>
              <a:ext uri="{FF2B5EF4-FFF2-40B4-BE49-F238E27FC236}"/>
            </a:extLst>
          </p:cNvPr>
          <p:cNvSpPr txBox="1"/>
          <p:nvPr/>
        </p:nvSpPr>
        <p:spPr>
          <a:xfrm>
            <a:off x="1930400" y="1871663"/>
            <a:ext cx="657225" cy="34448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190">
                <a:latin typeface="+mn-lt"/>
                <a:cs typeface="+mn-cs"/>
              </a:rPr>
              <a:t>Март</a:t>
            </a:r>
          </a:p>
        </p:txBody>
      </p:sp>
      <p:sp>
        <p:nvSpPr>
          <p:cNvPr id="142" name="Rectangle 44">
            <a:extLst>
              <a:ext uri="{FF2B5EF4-FFF2-40B4-BE49-F238E27FC236}"/>
            </a:extLst>
          </p:cNvPr>
          <p:cNvSpPr txBox="1"/>
          <p:nvPr/>
        </p:nvSpPr>
        <p:spPr>
          <a:xfrm>
            <a:off x="3579813" y="1884363"/>
            <a:ext cx="690562" cy="34448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190">
                <a:latin typeface="+mn-lt"/>
                <a:cs typeface="+mn-cs"/>
              </a:rPr>
              <a:t>Июль</a:t>
            </a:r>
          </a:p>
        </p:txBody>
      </p:sp>
      <p:sp>
        <p:nvSpPr>
          <p:cNvPr id="143" name="Rectangle 45">
            <a:extLst>
              <a:ext uri="{FF2B5EF4-FFF2-40B4-BE49-F238E27FC236}"/>
            </a:extLst>
          </p:cNvPr>
          <p:cNvSpPr txBox="1"/>
          <p:nvPr/>
        </p:nvSpPr>
        <p:spPr>
          <a:xfrm>
            <a:off x="7024688" y="1906588"/>
            <a:ext cx="1063625" cy="344487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wrap="none" lIns="0" tIns="0" rIns="0" bIns="0" anchor="b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190" dirty="0">
                <a:latin typeface="+mn-lt"/>
                <a:cs typeface="+mn-cs"/>
              </a:rPr>
              <a:t>Декабрь</a:t>
            </a:r>
          </a:p>
        </p:txBody>
      </p:sp>
      <p:sp>
        <p:nvSpPr>
          <p:cNvPr id="144" name="Straight Connector 17">
            <a:extLst>
              <a:ext uri="{FF2B5EF4-FFF2-40B4-BE49-F238E27FC236}"/>
            </a:extLst>
          </p:cNvPr>
          <p:cNvSpPr/>
          <p:nvPr/>
        </p:nvSpPr>
        <p:spPr>
          <a:xfrm flipH="1">
            <a:off x="3908425" y="2722563"/>
            <a:ext cx="0" cy="3098800"/>
          </a:xfrm>
          <a:prstGeom prst="line">
            <a:avLst/>
          </a:prstGeom>
          <a:ln w="19050" cap="rnd">
            <a:solidFill>
              <a:srgbClr val="98A6CC"/>
            </a:solidFill>
            <a:prstDash val="sysDot"/>
          </a:ln>
        </p:spPr>
        <p:txBody>
          <a:bodyPr lIns="45481" rIns="45481"/>
          <a:lstStyle/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88">
              <a:solidFill>
                <a:srgbClr val="212121">
                  <a:lumOff val="21764"/>
                </a:srgbClr>
              </a:solidFill>
              <a:latin typeface="+mn-lt"/>
              <a:cs typeface="+mn-cs"/>
            </a:endParaRPr>
          </a:p>
        </p:txBody>
      </p:sp>
      <p:sp>
        <p:nvSpPr>
          <p:cNvPr id="145" name="Straight Connector 58">
            <a:extLst>
              <a:ext uri="{FF2B5EF4-FFF2-40B4-BE49-F238E27FC236}"/>
            </a:extLst>
          </p:cNvPr>
          <p:cNvSpPr/>
          <p:nvPr/>
        </p:nvSpPr>
        <p:spPr>
          <a:xfrm flipH="1">
            <a:off x="2744788" y="2722563"/>
            <a:ext cx="0" cy="1046162"/>
          </a:xfrm>
          <a:prstGeom prst="line">
            <a:avLst/>
          </a:prstGeom>
          <a:ln w="19050" cap="rnd">
            <a:solidFill>
              <a:srgbClr val="98A6CC"/>
            </a:solidFill>
            <a:prstDash val="sysDot"/>
          </a:ln>
        </p:spPr>
        <p:txBody>
          <a:bodyPr lIns="45481" rIns="45481"/>
          <a:lstStyle/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88">
              <a:solidFill>
                <a:srgbClr val="212121">
                  <a:lumOff val="21764"/>
                </a:srgbClr>
              </a:solidFill>
              <a:latin typeface="+mn-lt"/>
              <a:cs typeface="+mn-cs"/>
            </a:endParaRPr>
          </a:p>
        </p:txBody>
      </p:sp>
      <p:grpSp>
        <p:nvGrpSpPr>
          <p:cNvPr id="73756" name="Group 22"/>
          <p:cNvGrpSpPr>
            <a:grpSpLocks/>
          </p:cNvGrpSpPr>
          <p:nvPr/>
        </p:nvGrpSpPr>
        <p:grpSpPr bwMode="auto">
          <a:xfrm>
            <a:off x="1128713" y="2727325"/>
            <a:ext cx="2122487" cy="1598613"/>
            <a:chOff x="0" y="0"/>
            <a:chExt cx="2133002" cy="1605912"/>
          </a:xfrm>
        </p:grpSpPr>
        <p:grpSp>
          <p:nvGrpSpPr>
            <p:cNvPr id="73764" name="Group 19"/>
            <p:cNvGrpSpPr>
              <a:grpSpLocks/>
            </p:cNvGrpSpPr>
            <p:nvPr/>
          </p:nvGrpSpPr>
          <p:grpSpPr bwMode="auto">
            <a:xfrm>
              <a:off x="0" y="0"/>
              <a:ext cx="1243469" cy="911905"/>
              <a:chOff x="0" y="0"/>
              <a:chExt cx="1243468" cy="911904"/>
            </a:xfrm>
          </p:grpSpPr>
          <p:sp>
            <p:nvSpPr>
              <p:cNvPr id="149" name="TextBox 56">
                <a:extLst>
                  <a:ext uri="{FF2B5EF4-FFF2-40B4-BE49-F238E27FC236}"/>
                </a:extLst>
              </p:cNvPr>
              <p:cNvSpPr txBox="1"/>
              <p:nvPr/>
            </p:nvSpPr>
            <p:spPr>
              <a:xfrm>
                <a:off x="0" y="534241"/>
                <a:ext cx="1242788" cy="37795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/>
              </a:extLst>
            </p:spPr>
            <p:txBody>
              <a:bodyPr lIns="0" tIns="0" rIns="0" bIns="0">
                <a:spAutoFit/>
              </a:bodyPr>
              <a:lstStyle>
                <a:lvl1pPr algn="ctr">
                  <a:defRPr sz="1200">
                    <a:solidFill>
                      <a:srgbClr val="58595B"/>
                    </a:solidFill>
                  </a:defRPr>
                </a:lvl1pPr>
              </a:lstStyle>
              <a:p>
                <a:pPr defTabSz="121525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194">
                    <a:latin typeface="+mn-lt"/>
                    <a:cs typeface="+mn-cs"/>
                  </a:rPr>
                  <a:t>Табачная продукция</a:t>
                </a:r>
              </a:p>
            </p:txBody>
          </p:sp>
          <p:pic>
            <p:nvPicPr>
              <p:cNvPr id="73767" name="Picture 8" descr="Picture 8"/>
              <p:cNvPicPr>
                <a:picLocks noChangeAspect="1"/>
              </p:cNvPicPr>
              <p:nvPr/>
            </p:nvPicPr>
            <p:blipFill>
              <a:blip r:embed="rId17"/>
              <a:srcRect/>
              <a:stretch>
                <a:fillRect/>
              </a:stretch>
            </p:blipFill>
            <p:spPr bwMode="auto">
              <a:xfrm>
                <a:off x="412193" y="0"/>
                <a:ext cx="419082" cy="419083"/>
              </a:xfrm>
              <a:prstGeom prst="rect">
                <a:avLst/>
              </a:prstGeom>
              <a:noFill/>
              <a:ln w="12700">
                <a:noFill/>
                <a:miter lim="400000"/>
                <a:headEnd/>
                <a:tailEnd/>
              </a:ln>
            </p:spPr>
          </p:pic>
        </p:grpSp>
        <p:sp>
          <p:nvSpPr>
            <p:cNvPr id="148" name="TextBox 55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1159830" y="1138650"/>
              <a:ext cx="973172" cy="46726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/>
            </a:extLst>
          </p:spPr>
          <p:txBody>
            <a:bodyPr wrap="none" lIns="44470" tIns="44470" rIns="44470" bIns="44470" anchor="ctr">
              <a:spAutoFit/>
            </a:bodyPr>
            <a:lstStyle/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Эксперимент</a:t>
              </a:r>
            </a:p>
            <a:p>
              <a:pPr algn="ctr" defTabSz="1215253" fontAlgn="auto">
                <a:spcBef>
                  <a:spcPts val="0"/>
                </a:spcBef>
                <a:spcAft>
                  <a:spcPts val="0"/>
                </a:spcAft>
                <a:defRPr sz="1200">
                  <a:solidFill>
                    <a:srgbClr val="58595B"/>
                  </a:solidFill>
                </a:defRPr>
              </a:pPr>
              <a:r>
                <a:rPr lang="ru-RU" sz="1194" dirty="0">
                  <a:solidFill>
                    <a:srgbClr val="58595B"/>
                  </a:solidFill>
                  <a:latin typeface="+mn-lt"/>
                  <a:cs typeface="+mn-cs"/>
                </a:rPr>
                <a:t>уже идет</a:t>
              </a:r>
            </a:p>
          </p:txBody>
        </p:sp>
      </p:grpSp>
      <p:sp>
        <p:nvSpPr>
          <p:cNvPr id="151" name="Straight Connector 63">
            <a:extLst>
              <a:ext uri="{FF2B5EF4-FFF2-40B4-BE49-F238E27FC236}"/>
            </a:extLst>
          </p:cNvPr>
          <p:cNvSpPr/>
          <p:nvPr/>
        </p:nvSpPr>
        <p:spPr>
          <a:xfrm>
            <a:off x="9742488" y="2722563"/>
            <a:ext cx="0" cy="3098800"/>
          </a:xfrm>
          <a:prstGeom prst="line">
            <a:avLst/>
          </a:prstGeom>
          <a:ln w="19050" cap="rnd">
            <a:solidFill>
              <a:srgbClr val="98A6CC"/>
            </a:solidFill>
            <a:prstDash val="sysDot"/>
          </a:ln>
        </p:spPr>
        <p:txBody>
          <a:bodyPr lIns="45481" rIns="45481"/>
          <a:lstStyle/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88">
              <a:solidFill>
                <a:srgbClr val="212121">
                  <a:lumOff val="21764"/>
                </a:srgbClr>
              </a:solidFill>
              <a:latin typeface="+mn-lt"/>
              <a:cs typeface="+mn-cs"/>
            </a:endParaRPr>
          </a:p>
        </p:txBody>
      </p:sp>
      <p:sp>
        <p:nvSpPr>
          <p:cNvPr id="152" name="Oval 64">
            <a:extLst>
              <a:ext uri="{FF2B5EF4-FFF2-40B4-BE49-F238E27FC236}"/>
            </a:extLst>
          </p:cNvPr>
          <p:cNvSpPr/>
          <p:nvPr/>
        </p:nvSpPr>
        <p:spPr>
          <a:xfrm>
            <a:off x="10488613" y="2405063"/>
            <a:ext cx="176212" cy="174625"/>
          </a:xfrm>
          <a:prstGeom prst="ellipse">
            <a:avLst/>
          </a:prstGeom>
          <a:solidFill>
            <a:srgbClr val="FFFFFF"/>
          </a:solidFill>
          <a:ln w="19050" cap="rnd">
            <a:solidFill>
              <a:srgbClr val="58595B"/>
            </a:solidFill>
            <a:tailEnd type="triangle"/>
          </a:ln>
        </p:spPr>
        <p:txBody>
          <a:bodyPr lIns="45481" rIns="45481" anchor="ctr"/>
          <a:lstStyle/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Trebuchet MS"/>
                <a:ea typeface="Trebuchet MS"/>
                <a:cs typeface="Trebuchet MS"/>
                <a:sym typeface="Trebuchet MS"/>
              </a:defRPr>
            </a:pPr>
            <a:endParaRPr lang="ru-RU" sz="1094">
              <a:solidFill>
                <a:srgbClr val="FFFFFF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53" name="Freeform 67">
            <a:extLst>
              <a:ext uri="{FF2B5EF4-FFF2-40B4-BE49-F238E27FC236}"/>
            </a:extLst>
          </p:cNvPr>
          <p:cNvSpPr/>
          <p:nvPr/>
        </p:nvSpPr>
        <p:spPr>
          <a:xfrm>
            <a:off x="10496550" y="2749550"/>
            <a:ext cx="160338" cy="3921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9695"/>
                </a:moveTo>
                <a:cubicBezTo>
                  <a:pt x="0" y="4443"/>
                  <a:pt x="0" y="4443"/>
                  <a:pt x="0" y="4443"/>
                </a:cubicBezTo>
                <a:cubicBezTo>
                  <a:pt x="0" y="1988"/>
                  <a:pt x="4833" y="0"/>
                  <a:pt x="10800" y="0"/>
                </a:cubicBezTo>
                <a:cubicBezTo>
                  <a:pt x="16767" y="0"/>
                  <a:pt x="21600" y="1988"/>
                  <a:pt x="21600" y="4443"/>
                </a:cubicBezTo>
                <a:cubicBezTo>
                  <a:pt x="21600" y="9720"/>
                  <a:pt x="21600" y="9720"/>
                  <a:pt x="21600" y="9720"/>
                </a:cubicBezTo>
                <a:cubicBezTo>
                  <a:pt x="20466" y="9941"/>
                  <a:pt x="20466" y="9941"/>
                  <a:pt x="20466" y="9941"/>
                </a:cubicBezTo>
                <a:cubicBezTo>
                  <a:pt x="17901" y="10407"/>
                  <a:pt x="14499" y="10677"/>
                  <a:pt x="10860" y="10677"/>
                </a:cubicBezTo>
                <a:cubicBezTo>
                  <a:pt x="7220" y="10677"/>
                  <a:pt x="3819" y="10407"/>
                  <a:pt x="1313" y="9941"/>
                </a:cubicBezTo>
                <a:cubicBezTo>
                  <a:pt x="1253" y="9941"/>
                  <a:pt x="1193" y="9916"/>
                  <a:pt x="1134" y="9916"/>
                </a:cubicBezTo>
                <a:lnTo>
                  <a:pt x="0" y="9695"/>
                </a:lnTo>
                <a:close/>
                <a:moveTo>
                  <a:pt x="2625" y="12420"/>
                </a:moveTo>
                <a:cubicBezTo>
                  <a:pt x="2625" y="17157"/>
                  <a:pt x="2625" y="17157"/>
                  <a:pt x="2625" y="17157"/>
                </a:cubicBezTo>
                <a:cubicBezTo>
                  <a:pt x="2625" y="19023"/>
                  <a:pt x="6325" y="20520"/>
                  <a:pt x="10800" y="20520"/>
                </a:cubicBezTo>
                <a:cubicBezTo>
                  <a:pt x="15275" y="20520"/>
                  <a:pt x="18975" y="19023"/>
                  <a:pt x="18975" y="17157"/>
                </a:cubicBezTo>
                <a:cubicBezTo>
                  <a:pt x="18975" y="12420"/>
                  <a:pt x="18975" y="12420"/>
                  <a:pt x="18975" y="12420"/>
                </a:cubicBezTo>
                <a:cubicBezTo>
                  <a:pt x="16469" y="12690"/>
                  <a:pt x="13724" y="12837"/>
                  <a:pt x="10860" y="12837"/>
                </a:cubicBezTo>
                <a:cubicBezTo>
                  <a:pt x="7996" y="12837"/>
                  <a:pt x="5131" y="12690"/>
                  <a:pt x="2625" y="12420"/>
                </a:cubicBezTo>
                <a:moveTo>
                  <a:pt x="0" y="10874"/>
                </a:moveTo>
                <a:cubicBezTo>
                  <a:pt x="60" y="10898"/>
                  <a:pt x="179" y="10923"/>
                  <a:pt x="239" y="10923"/>
                </a:cubicBezTo>
                <a:cubicBezTo>
                  <a:pt x="3103" y="11463"/>
                  <a:pt x="6862" y="11757"/>
                  <a:pt x="10860" y="11757"/>
                </a:cubicBezTo>
                <a:cubicBezTo>
                  <a:pt x="14857" y="11757"/>
                  <a:pt x="18676" y="11463"/>
                  <a:pt x="21540" y="10923"/>
                </a:cubicBezTo>
                <a:cubicBezTo>
                  <a:pt x="21540" y="10923"/>
                  <a:pt x="21540" y="10923"/>
                  <a:pt x="21600" y="10923"/>
                </a:cubicBezTo>
                <a:cubicBezTo>
                  <a:pt x="21600" y="17157"/>
                  <a:pt x="21600" y="17157"/>
                  <a:pt x="21600" y="17157"/>
                </a:cubicBezTo>
                <a:cubicBezTo>
                  <a:pt x="21600" y="19612"/>
                  <a:pt x="16767" y="21600"/>
                  <a:pt x="10800" y="21600"/>
                </a:cubicBezTo>
                <a:cubicBezTo>
                  <a:pt x="4833" y="21600"/>
                  <a:pt x="0" y="19612"/>
                  <a:pt x="0" y="17157"/>
                </a:cubicBezTo>
                <a:cubicBezTo>
                  <a:pt x="0" y="10874"/>
                  <a:pt x="0" y="10874"/>
                  <a:pt x="0" y="10874"/>
                </a:cubicBezTo>
                <a:close/>
              </a:path>
            </a:pathLst>
          </a:custGeom>
          <a:solidFill>
            <a:srgbClr val="595959"/>
          </a:solidFill>
          <a:ln w="12700">
            <a:miter lim="400000"/>
          </a:ln>
        </p:spPr>
        <p:txBody>
          <a:bodyPr lIns="45481" rIns="45481"/>
          <a:lstStyle/>
          <a:p>
            <a:pPr defTabSz="1215253" fontAlgn="auto">
              <a:spcBef>
                <a:spcPts val="0"/>
              </a:spcBef>
              <a:spcAft>
                <a:spcPts val="0"/>
              </a:spcAft>
              <a:defRPr sz="2200"/>
            </a:pPr>
            <a:endParaRPr lang="ru-RU" sz="2190">
              <a:solidFill>
                <a:srgbClr val="212121">
                  <a:lumOff val="21764"/>
                </a:srgbClr>
              </a:solidFill>
              <a:latin typeface="+mn-lt"/>
              <a:cs typeface="+mn-cs"/>
            </a:endParaRPr>
          </a:p>
        </p:txBody>
      </p:sp>
      <p:sp>
        <p:nvSpPr>
          <p:cNvPr id="154" name="TextBox 63">
            <a:extLst>
              <a:ext uri="{FF2B5EF4-FFF2-40B4-BE49-F238E27FC236}"/>
            </a:extLst>
          </p:cNvPr>
          <p:cNvSpPr txBox="1"/>
          <p:nvPr/>
        </p:nvSpPr>
        <p:spPr>
          <a:xfrm>
            <a:off x="9958388" y="3259138"/>
            <a:ext cx="1236662" cy="563562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>
            <a:spAutoFit/>
          </a:bodyPr>
          <a:lstStyle/>
          <a:p>
            <a:pPr algn="ctr" defTabSz="1215253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8595B"/>
                </a:solidFill>
              </a:defRPr>
            </a:pPr>
            <a:r>
              <a:rPr lang="ru-RU" sz="1194">
                <a:solidFill>
                  <a:srgbClr val="58595B"/>
                </a:solidFill>
                <a:latin typeface="+mn-lt"/>
                <a:cs typeface="+mn-cs"/>
              </a:rPr>
              <a:t>Все лекарственные средства</a:t>
            </a:r>
            <a:r>
              <a:rPr lang="ru-RU" sz="1194" baseline="29833">
                <a:solidFill>
                  <a:srgbClr val="58595B"/>
                </a:solidFill>
                <a:latin typeface="+mn-lt"/>
                <a:cs typeface="+mn-cs"/>
              </a:rPr>
              <a:t>1</a:t>
            </a:r>
            <a:r>
              <a:rPr lang="ru-RU" sz="1194">
                <a:solidFill>
                  <a:srgbClr val="58595B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155" name="Rectangle 69">
            <a:extLst>
              <a:ext uri="{FF2B5EF4-FFF2-40B4-BE49-F238E27FC236}"/>
            </a:extLst>
          </p:cNvPr>
          <p:cNvSpPr/>
          <p:nvPr/>
        </p:nvSpPr>
        <p:spPr>
          <a:xfrm>
            <a:off x="10225088" y="2330450"/>
            <a:ext cx="647700" cy="344488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/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defTabSz="12152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190">
                <a:latin typeface="+mn-lt"/>
                <a:cs typeface="+mn-cs"/>
              </a:rPr>
              <a:t>2020 </a:t>
            </a:r>
          </a:p>
        </p:txBody>
      </p:sp>
      <p:sp>
        <p:nvSpPr>
          <p:cNvPr id="156" name="ee4pFootnotes">
            <a:extLst>
              <a:ext uri="{FF2B5EF4-FFF2-40B4-BE49-F238E27FC236}"/>
            </a:extLst>
          </p:cNvPr>
          <p:cNvSpPr txBox="1"/>
          <p:nvPr/>
        </p:nvSpPr>
        <p:spPr>
          <a:xfrm>
            <a:off x="9742488" y="6072188"/>
            <a:ext cx="2324100" cy="379412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 anchor="b">
            <a:spAutoFit/>
          </a:bodyPr>
          <a:lstStyle/>
          <a:p>
            <a:pPr defTabSz="1214438">
              <a:lnSpc>
                <a:spcPct val="90000"/>
              </a:lnSpc>
            </a:pPr>
            <a:r>
              <a:rPr lang="ru-RU" sz="800">
                <a:solidFill>
                  <a:srgbClr val="58595B"/>
                </a:solidFill>
                <a:latin typeface="Trebuchet MS" pitchFamily="34" charset="0"/>
                <a:sym typeface="Trebuchet MS" pitchFamily="34" charset="0"/>
              </a:rPr>
              <a:t>1. Для части лекарственных средств (7 ВЗН и ЖНВЛП) обязательная маркировка вводится раньше</a:t>
            </a:r>
          </a:p>
        </p:txBody>
      </p:sp>
      <p:sp>
        <p:nvSpPr>
          <p:cNvPr id="157" name="Title 3">
            <a:extLst>
              <a:ext uri="{FF2B5EF4-FFF2-40B4-BE49-F238E27FC236}"/>
            </a:extLst>
          </p:cNvPr>
          <p:cNvSpPr txBox="1"/>
          <p:nvPr/>
        </p:nvSpPr>
        <p:spPr>
          <a:xfrm>
            <a:off x="314325" y="6156325"/>
            <a:ext cx="5692775" cy="139700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0" tIns="0" rIns="0" bIns="0" anchor="ctr">
            <a:spAutoFit/>
          </a:bodyPr>
          <a:lstStyle/>
          <a:p>
            <a:pPr defTabSz="909694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58595B"/>
                </a:solidFill>
              </a:defRPr>
            </a:pPr>
            <a:r>
              <a:rPr lang="ru-RU" sz="894" dirty="0">
                <a:solidFill>
                  <a:srgbClr val="58595B"/>
                </a:solidFill>
                <a:latin typeface="+mn-lt"/>
                <a:cs typeface="+mn-cs"/>
              </a:rPr>
              <a:t>*Согласно Распоряжению Правительства РФ от 28.04.2018 № 792-р</a:t>
            </a:r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756" name="Object 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4756" name="think-cell Slide" r:id="rId6" imgW="360" imgH="360" progId="">
              <p:embed/>
            </p:oleObj>
          </a:graphicData>
        </a:graphic>
      </p:graphicFrame>
      <p:sp>
        <p:nvSpPr>
          <p:cNvPr id="27" name="Прямоугольник 26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ru-RU" sz="2400" dirty="0">
              <a:solidFill>
                <a:srgbClr val="FFFFFF"/>
              </a:solidFill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20663" y="2222500"/>
          <a:ext cx="11750675" cy="4405313"/>
        </p:xfrm>
        <a:graphic>
          <a:graphicData uri="http://schemas.openxmlformats.org/drawingml/2006/table">
            <a:tbl>
              <a:tblPr/>
              <a:tblGrid>
                <a:gridCol w="944562"/>
                <a:gridCol w="2703513"/>
                <a:gridCol w="2700337"/>
                <a:gridCol w="2701925"/>
                <a:gridCol w="2700338"/>
              </a:tblGrid>
              <a:tr h="200025">
                <a:tc>
                  <a:txBody>
                    <a:bodyPr/>
                    <a:lstStyle/>
                    <a:p>
                      <a:pPr marL="0" marR="0" lvl="3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latin typeface="PT Sans Caption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Лекарственные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препарат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Табачные издел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Продукция легкой</a:t>
                      </a:r>
                    </a:p>
                    <a:p>
                      <a:pPr marL="0" marR="0" lvl="3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промышленно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3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Молочная продукц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</a:tr>
              <a:tr h="876300"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latin typeface="PT Sans Caption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Эксперимент, начатый ФНС, продлен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 до конца 2019</a:t>
                      </a: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;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latin typeface="PT Sans Caption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Правительство назначило ЦРПТ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оператором ИС 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в рамках эксперимента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В рамках ГЧП ЦРПТ инвестирует более 10 млрд руб. в создание инфраструктуры системы и оснастит все производства и мед. организации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Производство локализовано (СП с участием РФПИ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Успешно завершен первый этап эксперимента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 (запущен 15 января 2018 г.):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Его участники представляют 95% рынка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Произведено более 130 млн. промаркированных пачек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Маркированные изделия продаются с использованием К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9842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Эксперимент по обуви запущен и расширяется,</a:t>
                      </a:r>
                    </a:p>
                    <a:p>
                      <a:pPr marL="9842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Выпущен первый код и маркированная продукция</a:t>
                      </a:r>
                    </a:p>
                    <a:p>
                      <a:pPr marL="9842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Развернута информационная система</a:t>
                      </a:r>
                    </a:p>
                    <a:p>
                      <a:pPr marL="98425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Разработаны и переданы на согласование в ФОИВ необходимые нормативные документ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На базе МПТ создана проектно-экспертная группа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, проведено первое заседание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прорабатываются: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Технологии нанесения кода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Оценка объема интеграции 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Формирование рабочей группы поставщиков ИТ решений</a:t>
                      </a:r>
                    </a:p>
                    <a:p>
                      <a:pPr marL="323850" marR="0" lvl="1" indent="-215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95959"/>
                        </a:buClr>
                        <a:buSzTx/>
                        <a:buFont typeface="Trebuchet MS" pitchFamily="34" charset="0"/>
                        <a:buChar char="•"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Методические рекомендации для проведения эксперимент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595959"/>
                        </a:solidFill>
                        <a:effectLst/>
                        <a:latin typeface="PT Sans Caption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Готовится: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 завершение эксперимента и запуск обязательной маркиров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Готовится: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 завершение эксперимента и запуск обязательной маркиров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Готовится</a:t>
                      </a: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: 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расширение на весь легпром, работы по маркировке остатков продукци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Готовится: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 </a:t>
                      </a: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Проект Постановления Правительства РФ о проведении эксперимента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, стенд моделирования, дорожная карта процесса, процесс интеграции ГИС Меркурий с системой маркировки и Национальным каталогом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Запуск с: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04.2019 (12 ВЗН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01.2020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 (</a:t>
                      </a: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все ЛП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03.2019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07.201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(обувь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95959"/>
                          </a:solidFill>
                          <a:effectLst/>
                          <a:latin typeface="PT Sans Caption"/>
                          <a:cs typeface="Arial" charset="0"/>
                        </a:rPr>
                        <a:t>20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pattFill prst="pct5">
                      <a:fgClr>
                        <a:srgbClr val="FFFFFF"/>
                      </a:fgClr>
                      <a:bgClr>
                        <a:srgbClr val="FFFFFF"/>
                      </a:bgClr>
                    </a:pattFill>
                  </a:tcPr>
                </a:tc>
              </a:tr>
            </a:tbl>
          </a:graphicData>
        </a:graphic>
      </p:graphicFrame>
      <p:grpSp>
        <p:nvGrpSpPr>
          <p:cNvPr id="74799" name="Group 27"/>
          <p:cNvGrpSpPr>
            <a:grpSpLocks/>
          </p:cNvGrpSpPr>
          <p:nvPr/>
        </p:nvGrpSpPr>
        <p:grpSpPr bwMode="auto">
          <a:xfrm>
            <a:off x="4622800" y="1228725"/>
            <a:ext cx="1046163" cy="1044575"/>
            <a:chOff x="2843213" y="2233325"/>
            <a:chExt cx="3225078" cy="3225078"/>
          </a:xfrm>
        </p:grpSpPr>
        <p:sp>
          <p:nvSpPr>
            <p:cNvPr id="74816" name="AutoShape 3"/>
            <p:cNvSpPr>
              <a:spLocks noChangeAspect="1" noChangeArrowheads="1" noTextEdit="1"/>
            </p:cNvSpPr>
            <p:nvPr/>
          </p:nvSpPr>
          <p:spPr bwMode="auto">
            <a:xfrm>
              <a:off x="2843213" y="2233325"/>
              <a:ext cx="3225078" cy="32250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4817" name="Freeform 29"/>
            <p:cNvSpPr>
              <a:spLocks noEditPoints="1"/>
            </p:cNvSpPr>
            <p:nvPr/>
          </p:nvSpPr>
          <p:spPr bwMode="auto">
            <a:xfrm>
              <a:off x="3867114" y="3211626"/>
              <a:ext cx="1173134" cy="1670575"/>
            </a:xfrm>
            <a:custGeom>
              <a:avLst/>
              <a:gdLst>
                <a:gd name="T0" fmla="*/ 715906 w 839"/>
                <a:gd name="T1" fmla="*/ 0 h 1195"/>
                <a:gd name="T2" fmla="*/ 757853 w 839"/>
                <a:gd name="T3" fmla="*/ 308951 h 1195"/>
                <a:gd name="T4" fmla="*/ 873908 w 839"/>
                <a:gd name="T5" fmla="*/ 308951 h 1195"/>
                <a:gd name="T6" fmla="*/ 831960 w 839"/>
                <a:gd name="T7" fmla="*/ 0 h 1195"/>
                <a:gd name="T8" fmla="*/ 873908 w 839"/>
                <a:gd name="T9" fmla="*/ 308951 h 1195"/>
                <a:gd name="T10" fmla="*/ 1080849 w 839"/>
                <a:gd name="T11" fmla="*/ 0 h 1195"/>
                <a:gd name="T12" fmla="*/ 1038902 w 839"/>
                <a:gd name="T13" fmla="*/ 308951 h 1195"/>
                <a:gd name="T14" fmla="*/ 665568 w 839"/>
                <a:gd name="T15" fmla="*/ 308951 h 1195"/>
                <a:gd name="T16" fmla="*/ 623621 w 839"/>
                <a:gd name="T17" fmla="*/ 0 h 1195"/>
                <a:gd name="T18" fmla="*/ 665568 w 839"/>
                <a:gd name="T19" fmla="*/ 308951 h 1195"/>
                <a:gd name="T20" fmla="*/ 964794 w 839"/>
                <a:gd name="T21" fmla="*/ 0 h 1195"/>
                <a:gd name="T22" fmla="*/ 922847 w 839"/>
                <a:gd name="T23" fmla="*/ 308951 h 1195"/>
                <a:gd name="T24" fmla="*/ 1143771 w 839"/>
                <a:gd name="T25" fmla="*/ 107644 h 1195"/>
                <a:gd name="T26" fmla="*/ 1173134 w 839"/>
                <a:gd name="T27" fmla="*/ 0 h 1195"/>
                <a:gd name="T28" fmla="*/ 1131186 w 839"/>
                <a:gd name="T29" fmla="*/ 166358 h 1195"/>
                <a:gd name="T30" fmla="*/ 250287 w 839"/>
                <a:gd name="T31" fmla="*/ 308951 h 1195"/>
                <a:gd name="T32" fmla="*/ 208340 w 839"/>
                <a:gd name="T33" fmla="*/ 0 h 1195"/>
                <a:gd name="T34" fmla="*/ 250287 w 839"/>
                <a:gd name="T35" fmla="*/ 308951 h 1195"/>
                <a:gd name="T36" fmla="*/ 132834 w 839"/>
                <a:gd name="T37" fmla="*/ 0 h 1195"/>
                <a:gd name="T38" fmla="*/ 90886 w 839"/>
                <a:gd name="T39" fmla="*/ 308951 h 1195"/>
                <a:gd name="T40" fmla="*/ 27965 w 839"/>
                <a:gd name="T41" fmla="*/ 107644 h 1195"/>
                <a:gd name="T42" fmla="*/ 41948 w 839"/>
                <a:gd name="T43" fmla="*/ 0 h 1195"/>
                <a:gd name="T44" fmla="*/ 0 w 839"/>
                <a:gd name="T45" fmla="*/ 67103 h 1195"/>
                <a:gd name="T46" fmla="*/ 549513 w 839"/>
                <a:gd name="T47" fmla="*/ 308951 h 1195"/>
                <a:gd name="T48" fmla="*/ 507566 w 839"/>
                <a:gd name="T49" fmla="*/ 0 h 1195"/>
                <a:gd name="T50" fmla="*/ 549513 w 839"/>
                <a:gd name="T51" fmla="*/ 308951 h 1195"/>
                <a:gd name="T52" fmla="*/ 341174 w 839"/>
                <a:gd name="T53" fmla="*/ 0 h 1195"/>
                <a:gd name="T54" fmla="*/ 299226 w 839"/>
                <a:gd name="T55" fmla="*/ 308951 h 1195"/>
                <a:gd name="T56" fmla="*/ 457229 w 839"/>
                <a:gd name="T57" fmla="*/ 308951 h 1195"/>
                <a:gd name="T58" fmla="*/ 415281 w 839"/>
                <a:gd name="T59" fmla="*/ 0 h 1195"/>
                <a:gd name="T60" fmla="*/ 457229 w 839"/>
                <a:gd name="T61" fmla="*/ 308951 h 1195"/>
                <a:gd name="T62" fmla="*/ 20974 w 839"/>
                <a:gd name="T63" fmla="*/ 483698 h 1195"/>
                <a:gd name="T64" fmla="*/ 1152160 w 839"/>
                <a:gd name="T65" fmla="*/ 1670575 h 11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839"/>
                <a:gd name="T100" fmla="*/ 0 h 1195"/>
                <a:gd name="T101" fmla="*/ 839 w 839"/>
                <a:gd name="T102" fmla="*/ 1195 h 11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839" h="1195">
                  <a:moveTo>
                    <a:pt x="512" y="221"/>
                  </a:moveTo>
                  <a:cubicBezTo>
                    <a:pt x="512" y="0"/>
                    <a:pt x="512" y="0"/>
                    <a:pt x="512" y="0"/>
                  </a:cubicBezTo>
                  <a:cubicBezTo>
                    <a:pt x="542" y="0"/>
                    <a:pt x="542" y="0"/>
                    <a:pt x="542" y="0"/>
                  </a:cubicBezTo>
                  <a:cubicBezTo>
                    <a:pt x="542" y="221"/>
                    <a:pt x="542" y="221"/>
                    <a:pt x="542" y="221"/>
                  </a:cubicBezTo>
                  <a:cubicBezTo>
                    <a:pt x="531" y="221"/>
                    <a:pt x="521" y="221"/>
                    <a:pt x="512" y="221"/>
                  </a:cubicBezTo>
                  <a:close/>
                  <a:moveTo>
                    <a:pt x="625" y="221"/>
                  </a:moveTo>
                  <a:cubicBezTo>
                    <a:pt x="625" y="0"/>
                    <a:pt x="625" y="0"/>
                    <a:pt x="625" y="0"/>
                  </a:cubicBezTo>
                  <a:cubicBezTo>
                    <a:pt x="595" y="0"/>
                    <a:pt x="595" y="0"/>
                    <a:pt x="595" y="0"/>
                  </a:cubicBezTo>
                  <a:cubicBezTo>
                    <a:pt x="595" y="221"/>
                    <a:pt x="595" y="221"/>
                    <a:pt x="595" y="221"/>
                  </a:cubicBezTo>
                  <a:cubicBezTo>
                    <a:pt x="605" y="221"/>
                    <a:pt x="615" y="221"/>
                    <a:pt x="625" y="221"/>
                  </a:cubicBezTo>
                  <a:close/>
                  <a:moveTo>
                    <a:pt x="773" y="221"/>
                  </a:moveTo>
                  <a:cubicBezTo>
                    <a:pt x="773" y="0"/>
                    <a:pt x="773" y="0"/>
                    <a:pt x="773" y="0"/>
                  </a:cubicBezTo>
                  <a:cubicBezTo>
                    <a:pt x="743" y="0"/>
                    <a:pt x="743" y="0"/>
                    <a:pt x="743" y="0"/>
                  </a:cubicBezTo>
                  <a:cubicBezTo>
                    <a:pt x="743" y="221"/>
                    <a:pt x="743" y="221"/>
                    <a:pt x="743" y="221"/>
                  </a:cubicBezTo>
                  <a:cubicBezTo>
                    <a:pt x="756" y="221"/>
                    <a:pt x="766" y="221"/>
                    <a:pt x="773" y="221"/>
                  </a:cubicBezTo>
                  <a:close/>
                  <a:moveTo>
                    <a:pt x="476" y="221"/>
                  </a:moveTo>
                  <a:cubicBezTo>
                    <a:pt x="476" y="0"/>
                    <a:pt x="476" y="0"/>
                    <a:pt x="476" y="0"/>
                  </a:cubicBezTo>
                  <a:cubicBezTo>
                    <a:pt x="446" y="0"/>
                    <a:pt x="446" y="0"/>
                    <a:pt x="446" y="0"/>
                  </a:cubicBezTo>
                  <a:cubicBezTo>
                    <a:pt x="446" y="221"/>
                    <a:pt x="446" y="221"/>
                    <a:pt x="446" y="221"/>
                  </a:cubicBezTo>
                  <a:cubicBezTo>
                    <a:pt x="454" y="221"/>
                    <a:pt x="465" y="221"/>
                    <a:pt x="476" y="221"/>
                  </a:cubicBezTo>
                  <a:close/>
                  <a:moveTo>
                    <a:pt x="690" y="221"/>
                  </a:moveTo>
                  <a:cubicBezTo>
                    <a:pt x="690" y="0"/>
                    <a:pt x="690" y="0"/>
                    <a:pt x="690" y="0"/>
                  </a:cubicBezTo>
                  <a:cubicBezTo>
                    <a:pt x="660" y="0"/>
                    <a:pt x="660" y="0"/>
                    <a:pt x="660" y="0"/>
                  </a:cubicBezTo>
                  <a:cubicBezTo>
                    <a:pt x="660" y="221"/>
                    <a:pt x="660" y="221"/>
                    <a:pt x="660" y="221"/>
                  </a:cubicBezTo>
                  <a:cubicBezTo>
                    <a:pt x="671" y="221"/>
                    <a:pt x="681" y="221"/>
                    <a:pt x="690" y="221"/>
                  </a:cubicBezTo>
                  <a:close/>
                  <a:moveTo>
                    <a:pt x="818" y="77"/>
                  </a:moveTo>
                  <a:cubicBezTo>
                    <a:pt x="825" y="64"/>
                    <a:pt x="832" y="55"/>
                    <a:pt x="839" y="48"/>
                  </a:cubicBezTo>
                  <a:cubicBezTo>
                    <a:pt x="839" y="0"/>
                    <a:pt x="839" y="0"/>
                    <a:pt x="839" y="0"/>
                  </a:cubicBezTo>
                  <a:cubicBezTo>
                    <a:pt x="809" y="0"/>
                    <a:pt x="809" y="0"/>
                    <a:pt x="809" y="0"/>
                  </a:cubicBezTo>
                  <a:cubicBezTo>
                    <a:pt x="809" y="119"/>
                    <a:pt x="809" y="119"/>
                    <a:pt x="809" y="119"/>
                  </a:cubicBezTo>
                  <a:cubicBezTo>
                    <a:pt x="810" y="103"/>
                    <a:pt x="812" y="88"/>
                    <a:pt x="818" y="77"/>
                  </a:cubicBezTo>
                  <a:close/>
                  <a:moveTo>
                    <a:pt x="179" y="221"/>
                  </a:moveTo>
                  <a:cubicBezTo>
                    <a:pt x="179" y="0"/>
                    <a:pt x="179" y="0"/>
                    <a:pt x="179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9" y="221"/>
                    <a:pt x="149" y="221"/>
                    <a:pt x="149" y="221"/>
                  </a:cubicBezTo>
                  <a:cubicBezTo>
                    <a:pt x="158" y="221"/>
                    <a:pt x="168" y="221"/>
                    <a:pt x="179" y="221"/>
                  </a:cubicBezTo>
                  <a:close/>
                  <a:moveTo>
                    <a:pt x="95" y="221"/>
                  </a:moveTo>
                  <a:cubicBezTo>
                    <a:pt x="95" y="0"/>
                    <a:pt x="95" y="0"/>
                    <a:pt x="95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5" y="221"/>
                    <a:pt x="65" y="221"/>
                    <a:pt x="65" y="221"/>
                  </a:cubicBezTo>
                  <a:cubicBezTo>
                    <a:pt x="72" y="221"/>
                    <a:pt x="83" y="221"/>
                    <a:pt x="95" y="221"/>
                  </a:cubicBezTo>
                  <a:close/>
                  <a:moveTo>
                    <a:pt x="20" y="77"/>
                  </a:moveTo>
                  <a:cubicBezTo>
                    <a:pt x="26" y="88"/>
                    <a:pt x="29" y="104"/>
                    <a:pt x="30" y="12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7" y="55"/>
                    <a:pt x="13" y="64"/>
                    <a:pt x="20" y="77"/>
                  </a:cubicBezTo>
                  <a:close/>
                  <a:moveTo>
                    <a:pt x="393" y="221"/>
                  </a:moveTo>
                  <a:cubicBezTo>
                    <a:pt x="393" y="0"/>
                    <a:pt x="393" y="0"/>
                    <a:pt x="393" y="0"/>
                  </a:cubicBezTo>
                  <a:cubicBezTo>
                    <a:pt x="363" y="0"/>
                    <a:pt x="363" y="0"/>
                    <a:pt x="363" y="0"/>
                  </a:cubicBezTo>
                  <a:cubicBezTo>
                    <a:pt x="363" y="221"/>
                    <a:pt x="363" y="221"/>
                    <a:pt x="363" y="221"/>
                  </a:cubicBezTo>
                  <a:cubicBezTo>
                    <a:pt x="374" y="221"/>
                    <a:pt x="385" y="221"/>
                    <a:pt x="393" y="221"/>
                  </a:cubicBezTo>
                  <a:close/>
                  <a:moveTo>
                    <a:pt x="244" y="221"/>
                  </a:moveTo>
                  <a:cubicBezTo>
                    <a:pt x="244" y="0"/>
                    <a:pt x="244" y="0"/>
                    <a:pt x="244" y="0"/>
                  </a:cubicBezTo>
                  <a:cubicBezTo>
                    <a:pt x="214" y="0"/>
                    <a:pt x="214" y="0"/>
                    <a:pt x="214" y="0"/>
                  </a:cubicBezTo>
                  <a:cubicBezTo>
                    <a:pt x="214" y="221"/>
                    <a:pt x="214" y="221"/>
                    <a:pt x="214" y="221"/>
                  </a:cubicBezTo>
                  <a:cubicBezTo>
                    <a:pt x="224" y="221"/>
                    <a:pt x="234" y="221"/>
                    <a:pt x="244" y="221"/>
                  </a:cubicBezTo>
                  <a:close/>
                  <a:moveTo>
                    <a:pt x="327" y="221"/>
                  </a:moveTo>
                  <a:cubicBezTo>
                    <a:pt x="327" y="0"/>
                    <a:pt x="327" y="0"/>
                    <a:pt x="327" y="0"/>
                  </a:cubicBezTo>
                  <a:cubicBezTo>
                    <a:pt x="297" y="0"/>
                    <a:pt x="297" y="0"/>
                    <a:pt x="297" y="0"/>
                  </a:cubicBezTo>
                  <a:cubicBezTo>
                    <a:pt x="297" y="221"/>
                    <a:pt x="297" y="221"/>
                    <a:pt x="297" y="221"/>
                  </a:cubicBezTo>
                  <a:cubicBezTo>
                    <a:pt x="308" y="221"/>
                    <a:pt x="318" y="221"/>
                    <a:pt x="327" y="221"/>
                  </a:cubicBezTo>
                  <a:close/>
                  <a:moveTo>
                    <a:pt x="824" y="346"/>
                  </a:moveTo>
                  <a:cubicBezTo>
                    <a:pt x="15" y="346"/>
                    <a:pt x="15" y="346"/>
                    <a:pt x="15" y="346"/>
                  </a:cubicBezTo>
                  <a:cubicBezTo>
                    <a:pt x="15" y="1195"/>
                    <a:pt x="15" y="1195"/>
                    <a:pt x="15" y="1195"/>
                  </a:cubicBezTo>
                  <a:cubicBezTo>
                    <a:pt x="824" y="1195"/>
                    <a:pt x="824" y="1195"/>
                    <a:pt x="824" y="1195"/>
                  </a:cubicBezTo>
                  <a:lnTo>
                    <a:pt x="824" y="346"/>
                  </a:ln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4818" name="Freeform 30"/>
            <p:cNvSpPr>
              <a:spLocks noEditPoints="1"/>
            </p:cNvSpPr>
            <p:nvPr/>
          </p:nvSpPr>
          <p:spPr bwMode="auto">
            <a:xfrm>
              <a:off x="3713735" y="2639569"/>
              <a:ext cx="1475743" cy="2412590"/>
            </a:xfrm>
            <a:custGeom>
              <a:avLst/>
              <a:gdLst>
                <a:gd name="T0" fmla="*/ 1324814 w 1056"/>
                <a:gd name="T1" fmla="*/ 474126 h 1725"/>
                <a:gd name="T2" fmla="*/ 1324814 w 1056"/>
                <a:gd name="T3" fmla="*/ 570630 h 1725"/>
                <a:gd name="T4" fmla="*/ 1221401 w 1056"/>
                <a:gd name="T5" fmla="*/ 570630 h 1725"/>
                <a:gd name="T6" fmla="*/ 1190656 w 1056"/>
                <a:gd name="T7" fmla="*/ 530071 h 1725"/>
                <a:gd name="T8" fmla="*/ 1190656 w 1056"/>
                <a:gd name="T9" fmla="*/ 236364 h 1725"/>
                <a:gd name="T10" fmla="*/ 1294070 w 1056"/>
                <a:gd name="T11" fmla="*/ 195804 h 1725"/>
                <a:gd name="T12" fmla="*/ 1087242 w 1056"/>
                <a:gd name="T13" fmla="*/ 195804 h 1725"/>
                <a:gd name="T14" fmla="*/ 982431 w 1056"/>
                <a:gd name="T15" fmla="*/ 236364 h 1725"/>
                <a:gd name="T16" fmla="*/ 982431 w 1056"/>
                <a:gd name="T17" fmla="*/ 530071 h 1725"/>
                <a:gd name="T18" fmla="*/ 1013176 w 1056"/>
                <a:gd name="T19" fmla="*/ 570630 h 1725"/>
                <a:gd name="T20" fmla="*/ 1116589 w 1056"/>
                <a:gd name="T21" fmla="*/ 570630 h 1725"/>
                <a:gd name="T22" fmla="*/ 1116589 w 1056"/>
                <a:gd name="T23" fmla="*/ 474126 h 1725"/>
                <a:gd name="T24" fmla="*/ 1087242 w 1056"/>
                <a:gd name="T25" fmla="*/ 195804 h 1725"/>
                <a:gd name="T26" fmla="*/ 598123 w 1056"/>
                <a:gd name="T27" fmla="*/ 195804 h 1725"/>
                <a:gd name="T28" fmla="*/ 567378 w 1056"/>
                <a:gd name="T29" fmla="*/ 474126 h 1725"/>
                <a:gd name="T30" fmla="*/ 567378 w 1056"/>
                <a:gd name="T31" fmla="*/ 570630 h 1725"/>
                <a:gd name="T32" fmla="*/ 670792 w 1056"/>
                <a:gd name="T33" fmla="*/ 570630 h 1725"/>
                <a:gd name="T34" fmla="*/ 701537 w 1056"/>
                <a:gd name="T35" fmla="*/ 530071 h 1725"/>
                <a:gd name="T36" fmla="*/ 701537 w 1056"/>
                <a:gd name="T37" fmla="*/ 236364 h 1725"/>
                <a:gd name="T38" fmla="*/ 879017 w 1056"/>
                <a:gd name="T39" fmla="*/ 195804 h 1725"/>
                <a:gd name="T40" fmla="*/ 775604 w 1056"/>
                <a:gd name="T41" fmla="*/ 236364 h 1725"/>
                <a:gd name="T42" fmla="*/ 775604 w 1056"/>
                <a:gd name="T43" fmla="*/ 530071 h 1725"/>
                <a:gd name="T44" fmla="*/ 806348 w 1056"/>
                <a:gd name="T45" fmla="*/ 570630 h 1725"/>
                <a:gd name="T46" fmla="*/ 909762 w 1056"/>
                <a:gd name="T47" fmla="*/ 570630 h 1725"/>
                <a:gd name="T48" fmla="*/ 909762 w 1056"/>
                <a:gd name="T49" fmla="*/ 474126 h 1725"/>
                <a:gd name="T50" fmla="*/ 879017 w 1056"/>
                <a:gd name="T51" fmla="*/ 195804 h 1725"/>
                <a:gd name="T52" fmla="*/ 183070 w 1056"/>
                <a:gd name="T53" fmla="*/ 195804 h 1725"/>
                <a:gd name="T54" fmla="*/ 152326 w 1056"/>
                <a:gd name="T55" fmla="*/ 474126 h 1725"/>
                <a:gd name="T56" fmla="*/ 152326 w 1056"/>
                <a:gd name="T57" fmla="*/ 570630 h 1725"/>
                <a:gd name="T58" fmla="*/ 255740 w 1056"/>
                <a:gd name="T59" fmla="*/ 570630 h 1725"/>
                <a:gd name="T60" fmla="*/ 286484 w 1056"/>
                <a:gd name="T61" fmla="*/ 530071 h 1725"/>
                <a:gd name="T62" fmla="*/ 286484 w 1056"/>
                <a:gd name="T63" fmla="*/ 236364 h 1725"/>
                <a:gd name="T64" fmla="*/ 463965 w 1056"/>
                <a:gd name="T65" fmla="*/ 195804 h 1725"/>
                <a:gd name="T66" fmla="*/ 360551 w 1056"/>
                <a:gd name="T67" fmla="*/ 236364 h 1725"/>
                <a:gd name="T68" fmla="*/ 360551 w 1056"/>
                <a:gd name="T69" fmla="*/ 530071 h 1725"/>
                <a:gd name="T70" fmla="*/ 389898 w 1056"/>
                <a:gd name="T71" fmla="*/ 570630 h 1725"/>
                <a:gd name="T72" fmla="*/ 493312 w 1056"/>
                <a:gd name="T73" fmla="*/ 570630 h 1725"/>
                <a:gd name="T74" fmla="*/ 493312 w 1056"/>
                <a:gd name="T75" fmla="*/ 474126 h 1725"/>
                <a:gd name="T76" fmla="*/ 463965 w 1056"/>
                <a:gd name="T77" fmla="*/ 195804 h 1725"/>
                <a:gd name="T78" fmla="*/ 1475743 w 1056"/>
                <a:gd name="T79" fmla="*/ 595805 h 1725"/>
                <a:gd name="T80" fmla="*/ 1433819 w 1056"/>
                <a:gd name="T81" fmla="*/ 567833 h 1725"/>
                <a:gd name="T82" fmla="*/ 1268915 w 1056"/>
                <a:gd name="T83" fmla="*/ 683917 h 1725"/>
                <a:gd name="T84" fmla="*/ 1245158 w 1056"/>
                <a:gd name="T85" fmla="*/ 868532 h 1725"/>
                <a:gd name="T86" fmla="*/ 241765 w 1056"/>
                <a:gd name="T87" fmla="*/ 879721 h 1725"/>
                <a:gd name="T88" fmla="*/ 226392 w 1056"/>
                <a:gd name="T89" fmla="*/ 798602 h 1725"/>
                <a:gd name="T90" fmla="*/ 86644 w 1056"/>
                <a:gd name="T91" fmla="*/ 584616 h 1725"/>
                <a:gd name="T92" fmla="*/ 13975 w 1056"/>
                <a:gd name="T93" fmla="*/ 570630 h 1725"/>
                <a:gd name="T94" fmla="*/ 0 w 1056"/>
                <a:gd name="T95" fmla="*/ 2351051 h 1725"/>
                <a:gd name="T96" fmla="*/ 1414253 w 1056"/>
                <a:gd name="T97" fmla="*/ 2412590 h 1725"/>
                <a:gd name="T98" fmla="*/ 62887 w 1056"/>
                <a:gd name="T99" fmla="*/ 641959 h 1725"/>
                <a:gd name="T100" fmla="*/ 164903 w 1056"/>
                <a:gd name="T101" fmla="*/ 800001 h 1725"/>
                <a:gd name="T102" fmla="*/ 241765 w 1056"/>
                <a:gd name="T103" fmla="*/ 941260 h 1725"/>
                <a:gd name="T104" fmla="*/ 1303852 w 1056"/>
                <a:gd name="T105" fmla="*/ 885316 h 1725"/>
                <a:gd name="T106" fmla="*/ 1323417 w 1056"/>
                <a:gd name="T107" fmla="*/ 711889 h 1725"/>
                <a:gd name="T108" fmla="*/ 1414253 w 1056"/>
                <a:gd name="T109" fmla="*/ 641959 h 1725"/>
                <a:gd name="T110" fmla="*/ 61489 w 1056"/>
                <a:gd name="T111" fmla="*/ 2351051 h 1725"/>
                <a:gd name="T112" fmla="*/ 62887 w 1056"/>
                <a:gd name="T113" fmla="*/ 641959 h 1725"/>
                <a:gd name="T114" fmla="*/ 1414253 w 1056"/>
                <a:gd name="T115" fmla="*/ 0 h 1725"/>
                <a:gd name="T116" fmla="*/ 0 w 1056"/>
                <a:gd name="T117" fmla="*/ 61539 h 1725"/>
                <a:gd name="T118" fmla="*/ 61489 w 1056"/>
                <a:gd name="T119" fmla="*/ 595805 h 1725"/>
                <a:gd name="T120" fmla="*/ 1414253 w 1056"/>
                <a:gd name="T121" fmla="*/ 61539 h 1725"/>
                <a:gd name="T122" fmla="*/ 1475743 w 1056"/>
                <a:gd name="T123" fmla="*/ 595805 h 17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6"/>
                <a:gd name="T187" fmla="*/ 0 h 1725"/>
                <a:gd name="T188" fmla="*/ 1056 w 1056"/>
                <a:gd name="T189" fmla="*/ 1725 h 172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6" h="1725">
                  <a:moveTo>
                    <a:pt x="948" y="169"/>
                  </a:moveTo>
                  <a:cubicBezTo>
                    <a:pt x="948" y="339"/>
                    <a:pt x="948" y="339"/>
                    <a:pt x="948" y="339"/>
                  </a:cubicBezTo>
                  <a:cubicBezTo>
                    <a:pt x="948" y="379"/>
                    <a:pt x="948" y="379"/>
                    <a:pt x="948" y="379"/>
                  </a:cubicBezTo>
                  <a:cubicBezTo>
                    <a:pt x="948" y="408"/>
                    <a:pt x="948" y="408"/>
                    <a:pt x="948" y="408"/>
                  </a:cubicBezTo>
                  <a:cubicBezTo>
                    <a:pt x="926" y="408"/>
                    <a:pt x="926" y="408"/>
                    <a:pt x="926" y="408"/>
                  </a:cubicBezTo>
                  <a:cubicBezTo>
                    <a:pt x="874" y="408"/>
                    <a:pt x="874" y="408"/>
                    <a:pt x="874" y="408"/>
                  </a:cubicBezTo>
                  <a:cubicBezTo>
                    <a:pt x="852" y="408"/>
                    <a:pt x="852" y="408"/>
                    <a:pt x="852" y="408"/>
                  </a:cubicBezTo>
                  <a:cubicBezTo>
                    <a:pt x="852" y="379"/>
                    <a:pt x="852" y="379"/>
                    <a:pt x="852" y="379"/>
                  </a:cubicBezTo>
                  <a:cubicBezTo>
                    <a:pt x="852" y="339"/>
                    <a:pt x="852" y="339"/>
                    <a:pt x="852" y="339"/>
                  </a:cubicBezTo>
                  <a:cubicBezTo>
                    <a:pt x="852" y="169"/>
                    <a:pt x="852" y="169"/>
                    <a:pt x="852" y="169"/>
                  </a:cubicBezTo>
                  <a:cubicBezTo>
                    <a:pt x="852" y="153"/>
                    <a:pt x="862" y="140"/>
                    <a:pt x="874" y="140"/>
                  </a:cubicBezTo>
                  <a:cubicBezTo>
                    <a:pt x="926" y="140"/>
                    <a:pt x="926" y="140"/>
                    <a:pt x="926" y="140"/>
                  </a:cubicBezTo>
                  <a:cubicBezTo>
                    <a:pt x="938" y="140"/>
                    <a:pt x="948" y="153"/>
                    <a:pt x="948" y="169"/>
                  </a:cubicBezTo>
                  <a:close/>
                  <a:moveTo>
                    <a:pt x="778" y="140"/>
                  </a:moveTo>
                  <a:cubicBezTo>
                    <a:pt x="725" y="140"/>
                    <a:pt x="725" y="140"/>
                    <a:pt x="725" y="140"/>
                  </a:cubicBezTo>
                  <a:cubicBezTo>
                    <a:pt x="713" y="140"/>
                    <a:pt x="703" y="153"/>
                    <a:pt x="703" y="169"/>
                  </a:cubicBezTo>
                  <a:cubicBezTo>
                    <a:pt x="703" y="339"/>
                    <a:pt x="703" y="339"/>
                    <a:pt x="703" y="339"/>
                  </a:cubicBezTo>
                  <a:cubicBezTo>
                    <a:pt x="703" y="379"/>
                    <a:pt x="703" y="379"/>
                    <a:pt x="703" y="379"/>
                  </a:cubicBezTo>
                  <a:cubicBezTo>
                    <a:pt x="703" y="408"/>
                    <a:pt x="703" y="408"/>
                    <a:pt x="703" y="408"/>
                  </a:cubicBezTo>
                  <a:cubicBezTo>
                    <a:pt x="725" y="408"/>
                    <a:pt x="725" y="408"/>
                    <a:pt x="725" y="408"/>
                  </a:cubicBezTo>
                  <a:cubicBezTo>
                    <a:pt x="778" y="408"/>
                    <a:pt x="778" y="408"/>
                    <a:pt x="778" y="408"/>
                  </a:cubicBezTo>
                  <a:cubicBezTo>
                    <a:pt x="799" y="408"/>
                    <a:pt x="799" y="408"/>
                    <a:pt x="799" y="408"/>
                  </a:cubicBezTo>
                  <a:cubicBezTo>
                    <a:pt x="799" y="379"/>
                    <a:pt x="799" y="379"/>
                    <a:pt x="799" y="379"/>
                  </a:cubicBezTo>
                  <a:cubicBezTo>
                    <a:pt x="799" y="339"/>
                    <a:pt x="799" y="339"/>
                    <a:pt x="799" y="339"/>
                  </a:cubicBezTo>
                  <a:cubicBezTo>
                    <a:pt x="799" y="169"/>
                    <a:pt x="799" y="169"/>
                    <a:pt x="799" y="169"/>
                  </a:cubicBezTo>
                  <a:cubicBezTo>
                    <a:pt x="799" y="153"/>
                    <a:pt x="790" y="140"/>
                    <a:pt x="778" y="140"/>
                  </a:cubicBezTo>
                  <a:close/>
                  <a:moveTo>
                    <a:pt x="480" y="140"/>
                  </a:moveTo>
                  <a:cubicBezTo>
                    <a:pt x="428" y="140"/>
                    <a:pt x="428" y="140"/>
                    <a:pt x="428" y="140"/>
                  </a:cubicBezTo>
                  <a:cubicBezTo>
                    <a:pt x="416" y="140"/>
                    <a:pt x="406" y="153"/>
                    <a:pt x="406" y="169"/>
                  </a:cubicBezTo>
                  <a:cubicBezTo>
                    <a:pt x="406" y="339"/>
                    <a:pt x="406" y="339"/>
                    <a:pt x="406" y="339"/>
                  </a:cubicBezTo>
                  <a:cubicBezTo>
                    <a:pt x="406" y="379"/>
                    <a:pt x="406" y="379"/>
                    <a:pt x="406" y="379"/>
                  </a:cubicBezTo>
                  <a:cubicBezTo>
                    <a:pt x="406" y="408"/>
                    <a:pt x="406" y="408"/>
                    <a:pt x="406" y="408"/>
                  </a:cubicBezTo>
                  <a:cubicBezTo>
                    <a:pt x="428" y="408"/>
                    <a:pt x="428" y="408"/>
                    <a:pt x="428" y="408"/>
                  </a:cubicBezTo>
                  <a:cubicBezTo>
                    <a:pt x="480" y="408"/>
                    <a:pt x="480" y="408"/>
                    <a:pt x="480" y="408"/>
                  </a:cubicBezTo>
                  <a:cubicBezTo>
                    <a:pt x="502" y="408"/>
                    <a:pt x="502" y="408"/>
                    <a:pt x="502" y="408"/>
                  </a:cubicBezTo>
                  <a:cubicBezTo>
                    <a:pt x="502" y="379"/>
                    <a:pt x="502" y="379"/>
                    <a:pt x="502" y="379"/>
                  </a:cubicBezTo>
                  <a:cubicBezTo>
                    <a:pt x="502" y="339"/>
                    <a:pt x="502" y="339"/>
                    <a:pt x="502" y="339"/>
                  </a:cubicBezTo>
                  <a:cubicBezTo>
                    <a:pt x="502" y="169"/>
                    <a:pt x="502" y="169"/>
                    <a:pt x="502" y="169"/>
                  </a:cubicBezTo>
                  <a:cubicBezTo>
                    <a:pt x="502" y="153"/>
                    <a:pt x="492" y="140"/>
                    <a:pt x="480" y="140"/>
                  </a:cubicBezTo>
                  <a:close/>
                  <a:moveTo>
                    <a:pt x="629" y="140"/>
                  </a:moveTo>
                  <a:cubicBezTo>
                    <a:pt x="577" y="140"/>
                    <a:pt x="577" y="140"/>
                    <a:pt x="577" y="140"/>
                  </a:cubicBezTo>
                  <a:cubicBezTo>
                    <a:pt x="565" y="140"/>
                    <a:pt x="555" y="153"/>
                    <a:pt x="555" y="169"/>
                  </a:cubicBezTo>
                  <a:cubicBezTo>
                    <a:pt x="555" y="339"/>
                    <a:pt x="555" y="339"/>
                    <a:pt x="555" y="339"/>
                  </a:cubicBezTo>
                  <a:cubicBezTo>
                    <a:pt x="555" y="379"/>
                    <a:pt x="555" y="379"/>
                    <a:pt x="555" y="379"/>
                  </a:cubicBezTo>
                  <a:cubicBezTo>
                    <a:pt x="555" y="408"/>
                    <a:pt x="555" y="408"/>
                    <a:pt x="555" y="408"/>
                  </a:cubicBezTo>
                  <a:cubicBezTo>
                    <a:pt x="577" y="408"/>
                    <a:pt x="577" y="408"/>
                    <a:pt x="577" y="408"/>
                  </a:cubicBezTo>
                  <a:cubicBezTo>
                    <a:pt x="629" y="408"/>
                    <a:pt x="629" y="408"/>
                    <a:pt x="629" y="408"/>
                  </a:cubicBezTo>
                  <a:cubicBezTo>
                    <a:pt x="651" y="408"/>
                    <a:pt x="651" y="408"/>
                    <a:pt x="651" y="408"/>
                  </a:cubicBezTo>
                  <a:cubicBezTo>
                    <a:pt x="651" y="379"/>
                    <a:pt x="651" y="379"/>
                    <a:pt x="651" y="379"/>
                  </a:cubicBezTo>
                  <a:cubicBezTo>
                    <a:pt x="651" y="339"/>
                    <a:pt x="651" y="339"/>
                    <a:pt x="651" y="339"/>
                  </a:cubicBezTo>
                  <a:cubicBezTo>
                    <a:pt x="651" y="169"/>
                    <a:pt x="651" y="169"/>
                    <a:pt x="651" y="169"/>
                  </a:cubicBezTo>
                  <a:cubicBezTo>
                    <a:pt x="651" y="153"/>
                    <a:pt x="641" y="140"/>
                    <a:pt x="629" y="140"/>
                  </a:cubicBezTo>
                  <a:close/>
                  <a:moveTo>
                    <a:pt x="183" y="140"/>
                  </a:moveTo>
                  <a:cubicBezTo>
                    <a:pt x="131" y="140"/>
                    <a:pt x="131" y="140"/>
                    <a:pt x="131" y="140"/>
                  </a:cubicBezTo>
                  <a:cubicBezTo>
                    <a:pt x="119" y="140"/>
                    <a:pt x="109" y="153"/>
                    <a:pt x="109" y="16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9" y="379"/>
                    <a:pt x="109" y="379"/>
                    <a:pt x="109" y="379"/>
                  </a:cubicBezTo>
                  <a:cubicBezTo>
                    <a:pt x="109" y="408"/>
                    <a:pt x="109" y="408"/>
                    <a:pt x="109" y="408"/>
                  </a:cubicBezTo>
                  <a:cubicBezTo>
                    <a:pt x="131" y="408"/>
                    <a:pt x="131" y="408"/>
                    <a:pt x="131" y="408"/>
                  </a:cubicBezTo>
                  <a:cubicBezTo>
                    <a:pt x="183" y="408"/>
                    <a:pt x="183" y="408"/>
                    <a:pt x="183" y="408"/>
                  </a:cubicBezTo>
                  <a:cubicBezTo>
                    <a:pt x="205" y="408"/>
                    <a:pt x="205" y="408"/>
                    <a:pt x="205" y="408"/>
                  </a:cubicBezTo>
                  <a:cubicBezTo>
                    <a:pt x="205" y="379"/>
                    <a:pt x="205" y="379"/>
                    <a:pt x="205" y="379"/>
                  </a:cubicBezTo>
                  <a:cubicBezTo>
                    <a:pt x="205" y="339"/>
                    <a:pt x="205" y="339"/>
                    <a:pt x="205" y="339"/>
                  </a:cubicBezTo>
                  <a:cubicBezTo>
                    <a:pt x="205" y="169"/>
                    <a:pt x="205" y="169"/>
                    <a:pt x="205" y="169"/>
                  </a:cubicBezTo>
                  <a:cubicBezTo>
                    <a:pt x="205" y="153"/>
                    <a:pt x="195" y="140"/>
                    <a:pt x="183" y="140"/>
                  </a:cubicBezTo>
                  <a:close/>
                  <a:moveTo>
                    <a:pt x="332" y="140"/>
                  </a:moveTo>
                  <a:cubicBezTo>
                    <a:pt x="279" y="140"/>
                    <a:pt x="279" y="140"/>
                    <a:pt x="279" y="140"/>
                  </a:cubicBezTo>
                  <a:cubicBezTo>
                    <a:pt x="267" y="140"/>
                    <a:pt x="258" y="153"/>
                    <a:pt x="258" y="169"/>
                  </a:cubicBezTo>
                  <a:cubicBezTo>
                    <a:pt x="258" y="339"/>
                    <a:pt x="258" y="339"/>
                    <a:pt x="258" y="339"/>
                  </a:cubicBezTo>
                  <a:cubicBezTo>
                    <a:pt x="258" y="379"/>
                    <a:pt x="258" y="379"/>
                    <a:pt x="258" y="379"/>
                  </a:cubicBezTo>
                  <a:cubicBezTo>
                    <a:pt x="258" y="408"/>
                    <a:pt x="258" y="408"/>
                    <a:pt x="258" y="408"/>
                  </a:cubicBezTo>
                  <a:cubicBezTo>
                    <a:pt x="279" y="408"/>
                    <a:pt x="279" y="408"/>
                    <a:pt x="279" y="408"/>
                  </a:cubicBezTo>
                  <a:cubicBezTo>
                    <a:pt x="332" y="408"/>
                    <a:pt x="332" y="408"/>
                    <a:pt x="332" y="408"/>
                  </a:cubicBezTo>
                  <a:cubicBezTo>
                    <a:pt x="353" y="408"/>
                    <a:pt x="353" y="408"/>
                    <a:pt x="353" y="408"/>
                  </a:cubicBezTo>
                  <a:cubicBezTo>
                    <a:pt x="353" y="379"/>
                    <a:pt x="353" y="379"/>
                    <a:pt x="353" y="379"/>
                  </a:cubicBezTo>
                  <a:cubicBezTo>
                    <a:pt x="353" y="339"/>
                    <a:pt x="353" y="339"/>
                    <a:pt x="353" y="339"/>
                  </a:cubicBezTo>
                  <a:cubicBezTo>
                    <a:pt x="353" y="169"/>
                    <a:pt x="353" y="169"/>
                    <a:pt x="353" y="169"/>
                  </a:cubicBezTo>
                  <a:cubicBezTo>
                    <a:pt x="353" y="153"/>
                    <a:pt x="344" y="140"/>
                    <a:pt x="332" y="140"/>
                  </a:cubicBezTo>
                  <a:close/>
                  <a:moveTo>
                    <a:pt x="1056" y="1681"/>
                  </a:moveTo>
                  <a:cubicBezTo>
                    <a:pt x="1056" y="426"/>
                    <a:pt x="1056" y="426"/>
                    <a:pt x="1056" y="426"/>
                  </a:cubicBezTo>
                  <a:cubicBezTo>
                    <a:pt x="1056" y="418"/>
                    <a:pt x="1053" y="412"/>
                    <a:pt x="1046" y="408"/>
                  </a:cubicBezTo>
                  <a:cubicBezTo>
                    <a:pt x="1040" y="403"/>
                    <a:pt x="1032" y="403"/>
                    <a:pt x="1026" y="406"/>
                  </a:cubicBezTo>
                  <a:cubicBezTo>
                    <a:pt x="1014" y="411"/>
                    <a:pt x="1004" y="415"/>
                    <a:pt x="995" y="418"/>
                  </a:cubicBezTo>
                  <a:cubicBezTo>
                    <a:pt x="954" y="435"/>
                    <a:pt x="931" y="444"/>
                    <a:pt x="908" y="489"/>
                  </a:cubicBezTo>
                  <a:cubicBezTo>
                    <a:pt x="896" y="512"/>
                    <a:pt x="896" y="542"/>
                    <a:pt x="895" y="571"/>
                  </a:cubicBezTo>
                  <a:cubicBezTo>
                    <a:pt x="895" y="590"/>
                    <a:pt x="894" y="609"/>
                    <a:pt x="891" y="621"/>
                  </a:cubicBezTo>
                  <a:cubicBezTo>
                    <a:pt x="888" y="629"/>
                    <a:pt x="887" y="629"/>
                    <a:pt x="884" y="629"/>
                  </a:cubicBezTo>
                  <a:cubicBezTo>
                    <a:pt x="173" y="629"/>
                    <a:pt x="173" y="629"/>
                    <a:pt x="173" y="629"/>
                  </a:cubicBezTo>
                  <a:cubicBezTo>
                    <a:pt x="170" y="629"/>
                    <a:pt x="168" y="629"/>
                    <a:pt x="166" y="621"/>
                  </a:cubicBezTo>
                  <a:cubicBezTo>
                    <a:pt x="162" y="609"/>
                    <a:pt x="162" y="590"/>
                    <a:pt x="162" y="571"/>
                  </a:cubicBezTo>
                  <a:cubicBezTo>
                    <a:pt x="161" y="542"/>
                    <a:pt x="160" y="512"/>
                    <a:pt x="149" y="489"/>
                  </a:cubicBezTo>
                  <a:cubicBezTo>
                    <a:pt x="126" y="444"/>
                    <a:pt x="103" y="435"/>
                    <a:pt x="62" y="418"/>
                  </a:cubicBezTo>
                  <a:cubicBezTo>
                    <a:pt x="53" y="415"/>
                    <a:pt x="43" y="411"/>
                    <a:pt x="31" y="406"/>
                  </a:cubicBezTo>
                  <a:cubicBezTo>
                    <a:pt x="24" y="403"/>
                    <a:pt x="16" y="403"/>
                    <a:pt x="10" y="408"/>
                  </a:cubicBezTo>
                  <a:cubicBezTo>
                    <a:pt x="4" y="412"/>
                    <a:pt x="0" y="418"/>
                    <a:pt x="0" y="426"/>
                  </a:cubicBezTo>
                  <a:cubicBezTo>
                    <a:pt x="0" y="1681"/>
                    <a:pt x="0" y="1681"/>
                    <a:pt x="0" y="1681"/>
                  </a:cubicBezTo>
                  <a:cubicBezTo>
                    <a:pt x="0" y="1705"/>
                    <a:pt x="20" y="1725"/>
                    <a:pt x="44" y="1725"/>
                  </a:cubicBezTo>
                  <a:cubicBezTo>
                    <a:pt x="1012" y="1725"/>
                    <a:pt x="1012" y="1725"/>
                    <a:pt x="1012" y="1725"/>
                  </a:cubicBezTo>
                  <a:cubicBezTo>
                    <a:pt x="1037" y="1725"/>
                    <a:pt x="1056" y="1705"/>
                    <a:pt x="1056" y="1681"/>
                  </a:cubicBezTo>
                  <a:close/>
                  <a:moveTo>
                    <a:pt x="45" y="459"/>
                  </a:moveTo>
                  <a:cubicBezTo>
                    <a:pt x="84" y="474"/>
                    <a:pt x="94" y="479"/>
                    <a:pt x="110" y="509"/>
                  </a:cubicBezTo>
                  <a:cubicBezTo>
                    <a:pt x="117" y="523"/>
                    <a:pt x="117" y="549"/>
                    <a:pt x="118" y="572"/>
                  </a:cubicBezTo>
                  <a:cubicBezTo>
                    <a:pt x="118" y="594"/>
                    <a:pt x="119" y="615"/>
                    <a:pt x="124" y="633"/>
                  </a:cubicBezTo>
                  <a:cubicBezTo>
                    <a:pt x="134" y="668"/>
                    <a:pt x="159" y="673"/>
                    <a:pt x="173" y="673"/>
                  </a:cubicBezTo>
                  <a:cubicBezTo>
                    <a:pt x="884" y="673"/>
                    <a:pt x="884" y="673"/>
                    <a:pt x="884" y="673"/>
                  </a:cubicBezTo>
                  <a:cubicBezTo>
                    <a:pt x="898" y="673"/>
                    <a:pt x="923" y="668"/>
                    <a:pt x="933" y="633"/>
                  </a:cubicBezTo>
                  <a:cubicBezTo>
                    <a:pt x="938" y="615"/>
                    <a:pt x="938" y="594"/>
                    <a:pt x="939" y="572"/>
                  </a:cubicBezTo>
                  <a:cubicBezTo>
                    <a:pt x="939" y="549"/>
                    <a:pt x="940" y="523"/>
                    <a:pt x="947" y="509"/>
                  </a:cubicBezTo>
                  <a:cubicBezTo>
                    <a:pt x="962" y="479"/>
                    <a:pt x="973" y="474"/>
                    <a:pt x="1011" y="459"/>
                  </a:cubicBezTo>
                  <a:cubicBezTo>
                    <a:pt x="1012" y="459"/>
                    <a:pt x="1012" y="459"/>
                    <a:pt x="1012" y="459"/>
                  </a:cubicBezTo>
                  <a:cubicBezTo>
                    <a:pt x="1012" y="1681"/>
                    <a:pt x="1012" y="1681"/>
                    <a:pt x="1012" y="1681"/>
                  </a:cubicBezTo>
                  <a:cubicBezTo>
                    <a:pt x="44" y="1681"/>
                    <a:pt x="44" y="1681"/>
                    <a:pt x="44" y="1681"/>
                  </a:cubicBezTo>
                  <a:cubicBezTo>
                    <a:pt x="44" y="459"/>
                    <a:pt x="44" y="459"/>
                    <a:pt x="44" y="459"/>
                  </a:cubicBezTo>
                  <a:cubicBezTo>
                    <a:pt x="45" y="459"/>
                    <a:pt x="45" y="459"/>
                    <a:pt x="45" y="459"/>
                  </a:cubicBezTo>
                  <a:close/>
                  <a:moveTo>
                    <a:pt x="1056" y="44"/>
                  </a:moveTo>
                  <a:cubicBezTo>
                    <a:pt x="1056" y="20"/>
                    <a:pt x="1037" y="0"/>
                    <a:pt x="1012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426"/>
                    <a:pt x="0" y="426"/>
                    <a:pt x="0" y="426"/>
                  </a:cubicBezTo>
                  <a:cubicBezTo>
                    <a:pt x="44" y="426"/>
                    <a:pt x="44" y="426"/>
                    <a:pt x="44" y="42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1012" y="44"/>
                    <a:pt x="1012" y="44"/>
                    <a:pt x="1012" y="44"/>
                  </a:cubicBezTo>
                  <a:cubicBezTo>
                    <a:pt x="1012" y="426"/>
                    <a:pt x="1012" y="426"/>
                    <a:pt x="1012" y="426"/>
                  </a:cubicBezTo>
                  <a:cubicBezTo>
                    <a:pt x="1056" y="426"/>
                    <a:pt x="1056" y="426"/>
                    <a:pt x="1056" y="426"/>
                  </a:cubicBezTo>
                  <a:lnTo>
                    <a:pt x="1056" y="44"/>
                  </a:lnTo>
                  <a:close/>
                </a:path>
              </a:pathLst>
            </a:custGeom>
            <a:solidFill>
              <a:srgbClr val="58595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" name="Rectangle 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719222" y="3125368"/>
              <a:ext cx="53831" cy="367602"/>
            </a:xfrm>
            <a:prstGeom prst="rect">
              <a:avLst/>
            </a:prstGeom>
            <a:solidFill>
              <a:srgbClr val="58595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/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  <p:sp>
          <p:nvSpPr>
            <p:cNvPr id="11" name="Rectangle 32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128663" y="3125368"/>
              <a:ext cx="53831" cy="367602"/>
            </a:xfrm>
            <a:prstGeom prst="rect">
              <a:avLst/>
            </a:prstGeom>
            <a:solidFill>
              <a:srgbClr val="58595B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/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74800" name="Group 15"/>
          <p:cNvGrpSpPr>
            <a:grpSpLocks noChangeAspect="1"/>
          </p:cNvGrpSpPr>
          <p:nvPr/>
        </p:nvGrpSpPr>
        <p:grpSpPr bwMode="auto">
          <a:xfrm>
            <a:off x="1920875" y="1198563"/>
            <a:ext cx="1103313" cy="1104900"/>
            <a:chOff x="3642" y="444"/>
            <a:chExt cx="2543" cy="2542"/>
          </a:xfrm>
        </p:grpSpPr>
        <p:sp>
          <p:nvSpPr>
            <p:cNvPr id="74812" name="AutoShape 14"/>
            <p:cNvSpPr>
              <a:spLocks noChangeAspect="1" noChangeArrowheads="1" noTextEdit="1"/>
            </p:cNvSpPr>
            <p:nvPr/>
          </p:nvSpPr>
          <p:spPr bwMode="auto">
            <a:xfrm>
              <a:off x="3642" y="444"/>
              <a:ext cx="2543" cy="25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4813" name="Freeform 16"/>
            <p:cNvSpPr>
              <a:spLocks noEditPoints="1"/>
            </p:cNvSpPr>
            <p:nvPr/>
          </p:nvSpPr>
          <p:spPr bwMode="auto">
            <a:xfrm>
              <a:off x="4258" y="1149"/>
              <a:ext cx="1250" cy="1573"/>
            </a:xfrm>
            <a:custGeom>
              <a:avLst/>
              <a:gdLst>
                <a:gd name="T0" fmla="*/ 1239 w 1133"/>
                <a:gd name="T1" fmla="*/ 21 h 1426"/>
                <a:gd name="T2" fmla="*/ 1198 w 1133"/>
                <a:gd name="T3" fmla="*/ 0 h 1426"/>
                <a:gd name="T4" fmla="*/ 52 w 1133"/>
                <a:gd name="T5" fmla="*/ 0 h 1426"/>
                <a:gd name="T6" fmla="*/ 11 w 1133"/>
                <a:gd name="T7" fmla="*/ 21 h 1426"/>
                <a:gd name="T8" fmla="*/ 7 w 1133"/>
                <a:gd name="T9" fmla="*/ 67 h 1426"/>
                <a:gd name="T10" fmla="*/ 178 w 1133"/>
                <a:gd name="T11" fmla="*/ 318 h 1426"/>
                <a:gd name="T12" fmla="*/ 600 w 1133"/>
                <a:gd name="T13" fmla="*/ 490 h 1426"/>
                <a:gd name="T14" fmla="*/ 600 w 1133"/>
                <a:gd name="T15" fmla="*/ 728 h 1426"/>
                <a:gd name="T16" fmla="*/ 642 w 1133"/>
                <a:gd name="T17" fmla="*/ 735 h 1426"/>
                <a:gd name="T18" fmla="*/ 642 w 1133"/>
                <a:gd name="T19" fmla="*/ 735 h 1426"/>
                <a:gd name="T20" fmla="*/ 642 w 1133"/>
                <a:gd name="T21" fmla="*/ 735 h 1426"/>
                <a:gd name="T22" fmla="*/ 649 w 1133"/>
                <a:gd name="T23" fmla="*/ 736 h 1426"/>
                <a:gd name="T24" fmla="*/ 649 w 1133"/>
                <a:gd name="T25" fmla="*/ 490 h 1426"/>
                <a:gd name="T26" fmla="*/ 1072 w 1133"/>
                <a:gd name="T27" fmla="*/ 318 h 1426"/>
                <a:gd name="T28" fmla="*/ 1243 w 1133"/>
                <a:gd name="T29" fmla="*/ 67 h 1426"/>
                <a:gd name="T30" fmla="*/ 1239 w 1133"/>
                <a:gd name="T31" fmla="*/ 21 h 1426"/>
                <a:gd name="T32" fmla="*/ 624 w 1133"/>
                <a:gd name="T33" fmla="*/ 441 h 1426"/>
                <a:gd name="T34" fmla="*/ 52 w 1133"/>
                <a:gd name="T35" fmla="*/ 49 h 1426"/>
                <a:gd name="T36" fmla="*/ 52 w 1133"/>
                <a:gd name="T37" fmla="*/ 49 h 1426"/>
                <a:gd name="T38" fmla="*/ 1198 w 1133"/>
                <a:gd name="T39" fmla="*/ 49 h 1426"/>
                <a:gd name="T40" fmla="*/ 624 w 1133"/>
                <a:gd name="T41" fmla="*/ 441 h 1426"/>
                <a:gd name="T42" fmla="*/ 791 w 1133"/>
                <a:gd name="T43" fmla="*/ 1537 h 1426"/>
                <a:gd name="T44" fmla="*/ 770 w 1133"/>
                <a:gd name="T45" fmla="*/ 1573 h 1426"/>
                <a:gd name="T46" fmla="*/ 480 w 1133"/>
                <a:gd name="T47" fmla="*/ 1573 h 1426"/>
                <a:gd name="T48" fmla="*/ 459 w 1133"/>
                <a:gd name="T49" fmla="*/ 1537 h 1426"/>
                <a:gd name="T50" fmla="*/ 600 w 1133"/>
                <a:gd name="T51" fmla="*/ 1446 h 1426"/>
                <a:gd name="T52" fmla="*/ 600 w 1133"/>
                <a:gd name="T53" fmla="*/ 1297 h 1426"/>
                <a:gd name="T54" fmla="*/ 649 w 1133"/>
                <a:gd name="T55" fmla="*/ 1302 h 1426"/>
                <a:gd name="T56" fmla="*/ 649 w 1133"/>
                <a:gd name="T57" fmla="*/ 1446 h 1426"/>
                <a:gd name="T58" fmla="*/ 791 w 1133"/>
                <a:gd name="T59" fmla="*/ 1537 h 1426"/>
                <a:gd name="T60" fmla="*/ 642 w 1133"/>
                <a:gd name="T61" fmla="*/ 1198 h 1426"/>
                <a:gd name="T62" fmla="*/ 642 w 1133"/>
                <a:gd name="T63" fmla="*/ 1198 h 1426"/>
                <a:gd name="T64" fmla="*/ 600 w 1133"/>
                <a:gd name="T65" fmla="*/ 1191 h 1426"/>
                <a:gd name="T66" fmla="*/ 600 w 1133"/>
                <a:gd name="T67" fmla="*/ 951 h 1426"/>
                <a:gd name="T68" fmla="*/ 649 w 1133"/>
                <a:gd name="T69" fmla="*/ 955 h 1426"/>
                <a:gd name="T70" fmla="*/ 649 w 1133"/>
                <a:gd name="T71" fmla="*/ 1199 h 1426"/>
                <a:gd name="T72" fmla="*/ 642 w 1133"/>
                <a:gd name="T73" fmla="*/ 1198 h 142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133"/>
                <a:gd name="T112" fmla="*/ 0 h 1426"/>
                <a:gd name="T113" fmla="*/ 1133 w 1133"/>
                <a:gd name="T114" fmla="*/ 1426 h 142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133" h="1426">
                  <a:moveTo>
                    <a:pt x="1123" y="19"/>
                  </a:moveTo>
                  <a:cubicBezTo>
                    <a:pt x="1115" y="7"/>
                    <a:pt x="1101" y="0"/>
                    <a:pt x="108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32" y="0"/>
                    <a:pt x="18" y="7"/>
                    <a:pt x="10" y="19"/>
                  </a:cubicBezTo>
                  <a:cubicBezTo>
                    <a:pt x="2" y="32"/>
                    <a:pt x="0" y="47"/>
                    <a:pt x="6" y="61"/>
                  </a:cubicBezTo>
                  <a:cubicBezTo>
                    <a:pt x="26" y="110"/>
                    <a:pt x="73" y="205"/>
                    <a:pt x="161" y="288"/>
                  </a:cubicBezTo>
                  <a:cubicBezTo>
                    <a:pt x="266" y="387"/>
                    <a:pt x="395" y="439"/>
                    <a:pt x="544" y="444"/>
                  </a:cubicBezTo>
                  <a:cubicBezTo>
                    <a:pt x="544" y="660"/>
                    <a:pt x="544" y="660"/>
                    <a:pt x="544" y="660"/>
                  </a:cubicBezTo>
                  <a:cubicBezTo>
                    <a:pt x="582" y="666"/>
                    <a:pt x="582" y="666"/>
                    <a:pt x="582" y="666"/>
                  </a:cubicBezTo>
                  <a:cubicBezTo>
                    <a:pt x="582" y="666"/>
                    <a:pt x="582" y="666"/>
                    <a:pt x="582" y="666"/>
                  </a:cubicBezTo>
                  <a:cubicBezTo>
                    <a:pt x="582" y="666"/>
                    <a:pt x="582" y="666"/>
                    <a:pt x="582" y="666"/>
                  </a:cubicBezTo>
                  <a:cubicBezTo>
                    <a:pt x="584" y="666"/>
                    <a:pt x="586" y="667"/>
                    <a:pt x="588" y="667"/>
                  </a:cubicBezTo>
                  <a:cubicBezTo>
                    <a:pt x="588" y="444"/>
                    <a:pt x="588" y="444"/>
                    <a:pt x="588" y="444"/>
                  </a:cubicBezTo>
                  <a:cubicBezTo>
                    <a:pt x="738" y="439"/>
                    <a:pt x="867" y="387"/>
                    <a:pt x="972" y="288"/>
                  </a:cubicBezTo>
                  <a:cubicBezTo>
                    <a:pt x="1060" y="205"/>
                    <a:pt x="1107" y="110"/>
                    <a:pt x="1127" y="61"/>
                  </a:cubicBezTo>
                  <a:cubicBezTo>
                    <a:pt x="1133" y="47"/>
                    <a:pt x="1131" y="32"/>
                    <a:pt x="1123" y="19"/>
                  </a:cubicBezTo>
                  <a:close/>
                  <a:moveTo>
                    <a:pt x="566" y="400"/>
                  </a:moveTo>
                  <a:cubicBezTo>
                    <a:pt x="220" y="400"/>
                    <a:pt x="81" y="127"/>
                    <a:pt x="47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1086" y="44"/>
                    <a:pt x="1086" y="44"/>
                    <a:pt x="1086" y="44"/>
                  </a:cubicBezTo>
                  <a:cubicBezTo>
                    <a:pt x="1052" y="127"/>
                    <a:pt x="913" y="400"/>
                    <a:pt x="566" y="400"/>
                  </a:cubicBezTo>
                  <a:close/>
                  <a:moveTo>
                    <a:pt x="717" y="1393"/>
                  </a:moveTo>
                  <a:cubicBezTo>
                    <a:pt x="726" y="1407"/>
                    <a:pt x="716" y="1426"/>
                    <a:pt x="698" y="1426"/>
                  </a:cubicBezTo>
                  <a:cubicBezTo>
                    <a:pt x="435" y="1426"/>
                    <a:pt x="435" y="1426"/>
                    <a:pt x="435" y="1426"/>
                  </a:cubicBezTo>
                  <a:cubicBezTo>
                    <a:pt x="417" y="1426"/>
                    <a:pt x="407" y="1407"/>
                    <a:pt x="416" y="1393"/>
                  </a:cubicBezTo>
                  <a:cubicBezTo>
                    <a:pt x="436" y="1361"/>
                    <a:pt x="475" y="1319"/>
                    <a:pt x="544" y="1311"/>
                  </a:cubicBezTo>
                  <a:cubicBezTo>
                    <a:pt x="544" y="1176"/>
                    <a:pt x="544" y="1176"/>
                    <a:pt x="544" y="1176"/>
                  </a:cubicBezTo>
                  <a:cubicBezTo>
                    <a:pt x="554" y="1177"/>
                    <a:pt x="573" y="1179"/>
                    <a:pt x="588" y="1180"/>
                  </a:cubicBezTo>
                  <a:cubicBezTo>
                    <a:pt x="588" y="1311"/>
                    <a:pt x="588" y="1311"/>
                    <a:pt x="588" y="1311"/>
                  </a:cubicBezTo>
                  <a:cubicBezTo>
                    <a:pt x="658" y="1319"/>
                    <a:pt x="697" y="1361"/>
                    <a:pt x="717" y="1393"/>
                  </a:cubicBezTo>
                  <a:close/>
                  <a:moveTo>
                    <a:pt x="582" y="1086"/>
                  </a:moveTo>
                  <a:cubicBezTo>
                    <a:pt x="582" y="1086"/>
                    <a:pt x="582" y="1086"/>
                    <a:pt x="582" y="1086"/>
                  </a:cubicBezTo>
                  <a:cubicBezTo>
                    <a:pt x="544" y="1080"/>
                    <a:pt x="544" y="1080"/>
                    <a:pt x="544" y="1080"/>
                  </a:cubicBezTo>
                  <a:cubicBezTo>
                    <a:pt x="544" y="862"/>
                    <a:pt x="544" y="862"/>
                    <a:pt x="544" y="862"/>
                  </a:cubicBezTo>
                  <a:cubicBezTo>
                    <a:pt x="554" y="863"/>
                    <a:pt x="573" y="864"/>
                    <a:pt x="588" y="866"/>
                  </a:cubicBezTo>
                  <a:cubicBezTo>
                    <a:pt x="588" y="1087"/>
                    <a:pt x="588" y="1087"/>
                    <a:pt x="588" y="1087"/>
                  </a:cubicBezTo>
                  <a:cubicBezTo>
                    <a:pt x="586" y="1087"/>
                    <a:pt x="584" y="1086"/>
                    <a:pt x="582" y="1086"/>
                  </a:cubicBezTo>
                  <a:close/>
                </a:path>
              </a:pathLst>
            </a:custGeom>
            <a:solidFill>
              <a:srgbClr val="58595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4814" name="Freeform 17"/>
            <p:cNvSpPr>
              <a:spLocks noEditPoints="1"/>
            </p:cNvSpPr>
            <p:nvPr/>
          </p:nvSpPr>
          <p:spPr bwMode="auto">
            <a:xfrm>
              <a:off x="4527" y="637"/>
              <a:ext cx="1230" cy="1903"/>
            </a:xfrm>
            <a:custGeom>
              <a:avLst/>
              <a:gdLst>
                <a:gd name="T0" fmla="*/ 489 w 1114"/>
                <a:gd name="T1" fmla="*/ 1845 h 1725"/>
                <a:gd name="T2" fmla="*/ 424 w 1114"/>
                <a:gd name="T3" fmla="*/ 1788 h 1725"/>
                <a:gd name="T4" fmla="*/ 399 w 1114"/>
                <a:gd name="T5" fmla="*/ 1782 h 1725"/>
                <a:gd name="T6" fmla="*/ 201 w 1114"/>
                <a:gd name="T7" fmla="*/ 1784 h 1725"/>
                <a:gd name="T8" fmla="*/ 112 w 1114"/>
                <a:gd name="T9" fmla="*/ 1745 h 1725"/>
                <a:gd name="T10" fmla="*/ 84 w 1114"/>
                <a:gd name="T11" fmla="*/ 1678 h 1725"/>
                <a:gd name="T12" fmla="*/ 92 w 1114"/>
                <a:gd name="T13" fmla="*/ 1642 h 1725"/>
                <a:gd name="T14" fmla="*/ 151 w 1114"/>
                <a:gd name="T15" fmla="*/ 1582 h 1725"/>
                <a:gd name="T16" fmla="*/ 255 w 1114"/>
                <a:gd name="T17" fmla="*/ 1547 h 1725"/>
                <a:gd name="T18" fmla="*/ 282 w 1114"/>
                <a:gd name="T19" fmla="*/ 1639 h 1725"/>
                <a:gd name="T20" fmla="*/ 192 w 1114"/>
                <a:gd name="T21" fmla="*/ 1660 h 1725"/>
                <a:gd name="T22" fmla="*/ 166 w 1114"/>
                <a:gd name="T23" fmla="*/ 1676 h 1725"/>
                <a:gd name="T24" fmla="*/ 165 w 1114"/>
                <a:gd name="T25" fmla="*/ 1678 h 1725"/>
                <a:gd name="T26" fmla="*/ 214 w 1114"/>
                <a:gd name="T27" fmla="*/ 1714 h 1725"/>
                <a:gd name="T28" fmla="*/ 410 w 1114"/>
                <a:gd name="T29" fmla="*/ 1743 h 1725"/>
                <a:gd name="T30" fmla="*/ 442 w 1114"/>
                <a:gd name="T31" fmla="*/ 1757 h 1725"/>
                <a:gd name="T32" fmla="*/ 589 w 1114"/>
                <a:gd name="T33" fmla="*/ 1411 h 1725"/>
                <a:gd name="T34" fmla="*/ 507 w 1114"/>
                <a:gd name="T35" fmla="*/ 1334 h 1725"/>
                <a:gd name="T36" fmla="*/ 300 w 1114"/>
                <a:gd name="T37" fmla="*/ 1284 h 1725"/>
                <a:gd name="T38" fmla="*/ 139 w 1114"/>
                <a:gd name="T39" fmla="*/ 1234 h 1725"/>
                <a:gd name="T40" fmla="*/ 130 w 1114"/>
                <a:gd name="T41" fmla="*/ 1220 h 1725"/>
                <a:gd name="T42" fmla="*/ 139 w 1114"/>
                <a:gd name="T43" fmla="*/ 1206 h 1725"/>
                <a:gd name="T44" fmla="*/ 258 w 1114"/>
                <a:gd name="T45" fmla="*/ 1179 h 1725"/>
                <a:gd name="T46" fmla="*/ 238 w 1114"/>
                <a:gd name="T47" fmla="*/ 1045 h 1725"/>
                <a:gd name="T48" fmla="*/ 127 w 1114"/>
                <a:gd name="T49" fmla="*/ 1067 h 1725"/>
                <a:gd name="T50" fmla="*/ 35 w 1114"/>
                <a:gd name="T51" fmla="*/ 1124 h 1725"/>
                <a:gd name="T52" fmla="*/ 2 w 1114"/>
                <a:gd name="T53" fmla="*/ 1232 h 1725"/>
                <a:gd name="T54" fmla="*/ 49 w 1114"/>
                <a:gd name="T55" fmla="*/ 1325 h 1725"/>
                <a:gd name="T56" fmla="*/ 203 w 1114"/>
                <a:gd name="T57" fmla="*/ 1393 h 1725"/>
                <a:gd name="T58" fmla="*/ 399 w 1114"/>
                <a:gd name="T59" fmla="*/ 1424 h 1725"/>
                <a:gd name="T60" fmla="*/ 480 w 1114"/>
                <a:gd name="T61" fmla="*/ 1457 h 1725"/>
                <a:gd name="T62" fmla="*/ 481 w 1114"/>
                <a:gd name="T63" fmla="*/ 1461 h 1725"/>
                <a:gd name="T64" fmla="*/ 437 w 1114"/>
                <a:gd name="T65" fmla="*/ 1496 h 1725"/>
                <a:gd name="T66" fmla="*/ 449 w 1114"/>
                <a:gd name="T67" fmla="*/ 1608 h 1725"/>
                <a:gd name="T68" fmla="*/ 523 w 1114"/>
                <a:gd name="T69" fmla="*/ 1576 h 1725"/>
                <a:gd name="T70" fmla="*/ 594 w 1114"/>
                <a:gd name="T71" fmla="*/ 1487 h 1725"/>
                <a:gd name="T72" fmla="*/ 597 w 1114"/>
                <a:gd name="T73" fmla="*/ 1450 h 1725"/>
                <a:gd name="T74" fmla="*/ 1170 w 1114"/>
                <a:gd name="T75" fmla="*/ 280 h 1725"/>
                <a:gd name="T76" fmla="*/ 803 w 1114"/>
                <a:gd name="T77" fmla="*/ 12 h 1725"/>
                <a:gd name="T78" fmla="*/ 367 w 1114"/>
                <a:gd name="T79" fmla="*/ 77 h 1725"/>
                <a:gd name="T80" fmla="*/ 151 w 1114"/>
                <a:gd name="T81" fmla="*/ 147 h 1725"/>
                <a:gd name="T82" fmla="*/ 448 w 1114"/>
                <a:gd name="T83" fmla="*/ 223 h 1725"/>
                <a:gd name="T84" fmla="*/ 961 w 1114"/>
                <a:gd name="T85" fmla="*/ 269 h 1725"/>
                <a:gd name="T86" fmla="*/ 1052 w 1114"/>
                <a:gd name="T87" fmla="*/ 684 h 1725"/>
                <a:gd name="T88" fmla="*/ 858 w 1114"/>
                <a:gd name="T89" fmla="*/ 929 h 1725"/>
                <a:gd name="T90" fmla="*/ 502 w 1114"/>
                <a:gd name="T91" fmla="*/ 1023 h 1725"/>
                <a:gd name="T92" fmla="*/ 428 w 1114"/>
                <a:gd name="T93" fmla="*/ 1172 h 1725"/>
                <a:gd name="T94" fmla="*/ 655 w 1114"/>
                <a:gd name="T95" fmla="*/ 1148 h 1725"/>
                <a:gd name="T96" fmla="*/ 993 w 1114"/>
                <a:gd name="T97" fmla="*/ 1031 h 1725"/>
                <a:gd name="T98" fmla="*/ 1212 w 1114"/>
                <a:gd name="T99" fmla="*/ 721 h 172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114"/>
                <a:gd name="T151" fmla="*/ 0 h 1725"/>
                <a:gd name="T152" fmla="*/ 1114 w 1114"/>
                <a:gd name="T153" fmla="*/ 1725 h 172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114" h="1725">
                  <a:moveTo>
                    <a:pt x="457" y="1666"/>
                  </a:moveTo>
                  <a:cubicBezTo>
                    <a:pt x="464" y="1685"/>
                    <a:pt x="468" y="1705"/>
                    <a:pt x="468" y="1725"/>
                  </a:cubicBezTo>
                  <a:cubicBezTo>
                    <a:pt x="462" y="1706"/>
                    <a:pt x="453" y="1688"/>
                    <a:pt x="443" y="1672"/>
                  </a:cubicBezTo>
                  <a:cubicBezTo>
                    <a:pt x="438" y="1664"/>
                    <a:pt x="432" y="1657"/>
                    <a:pt x="426" y="1650"/>
                  </a:cubicBezTo>
                  <a:cubicBezTo>
                    <a:pt x="420" y="1643"/>
                    <a:pt x="413" y="1637"/>
                    <a:pt x="406" y="1632"/>
                  </a:cubicBezTo>
                  <a:cubicBezTo>
                    <a:pt x="399" y="1628"/>
                    <a:pt x="392" y="1624"/>
                    <a:pt x="384" y="1621"/>
                  </a:cubicBezTo>
                  <a:cubicBezTo>
                    <a:pt x="382" y="1620"/>
                    <a:pt x="380" y="1619"/>
                    <a:pt x="379" y="1619"/>
                  </a:cubicBezTo>
                  <a:cubicBezTo>
                    <a:pt x="377" y="1618"/>
                    <a:pt x="375" y="1618"/>
                    <a:pt x="373" y="1617"/>
                  </a:cubicBezTo>
                  <a:cubicBezTo>
                    <a:pt x="369" y="1617"/>
                    <a:pt x="365" y="1616"/>
                    <a:pt x="361" y="1615"/>
                  </a:cubicBezTo>
                  <a:cubicBezTo>
                    <a:pt x="344" y="1614"/>
                    <a:pt x="326" y="1614"/>
                    <a:pt x="306" y="1615"/>
                  </a:cubicBezTo>
                  <a:cubicBezTo>
                    <a:pt x="287" y="1616"/>
                    <a:pt x="268" y="1617"/>
                    <a:pt x="247" y="1618"/>
                  </a:cubicBezTo>
                  <a:cubicBezTo>
                    <a:pt x="227" y="1619"/>
                    <a:pt x="205" y="1619"/>
                    <a:pt x="182" y="1617"/>
                  </a:cubicBezTo>
                  <a:cubicBezTo>
                    <a:pt x="170" y="1615"/>
                    <a:pt x="158" y="1613"/>
                    <a:pt x="145" y="1609"/>
                  </a:cubicBezTo>
                  <a:cubicBezTo>
                    <a:pt x="138" y="1606"/>
                    <a:pt x="131" y="1603"/>
                    <a:pt x="124" y="1599"/>
                  </a:cubicBezTo>
                  <a:cubicBezTo>
                    <a:pt x="116" y="1595"/>
                    <a:pt x="109" y="1590"/>
                    <a:pt x="101" y="1582"/>
                  </a:cubicBezTo>
                  <a:cubicBezTo>
                    <a:pt x="94" y="1575"/>
                    <a:pt x="88" y="1566"/>
                    <a:pt x="83" y="1555"/>
                  </a:cubicBezTo>
                  <a:cubicBezTo>
                    <a:pt x="79" y="1545"/>
                    <a:pt x="77" y="1535"/>
                    <a:pt x="76" y="1525"/>
                  </a:cubicBezTo>
                  <a:cubicBezTo>
                    <a:pt x="76" y="1524"/>
                    <a:pt x="76" y="1523"/>
                    <a:pt x="76" y="1521"/>
                  </a:cubicBezTo>
                  <a:cubicBezTo>
                    <a:pt x="76" y="1520"/>
                    <a:pt x="76" y="1518"/>
                    <a:pt x="76" y="1517"/>
                  </a:cubicBezTo>
                  <a:cubicBezTo>
                    <a:pt x="76" y="1513"/>
                    <a:pt x="76" y="1510"/>
                    <a:pt x="77" y="1506"/>
                  </a:cubicBezTo>
                  <a:cubicBezTo>
                    <a:pt x="78" y="1500"/>
                    <a:pt x="80" y="1493"/>
                    <a:pt x="83" y="1488"/>
                  </a:cubicBezTo>
                  <a:cubicBezTo>
                    <a:pt x="88" y="1476"/>
                    <a:pt x="95" y="1467"/>
                    <a:pt x="101" y="1461"/>
                  </a:cubicBezTo>
                  <a:cubicBezTo>
                    <a:pt x="108" y="1454"/>
                    <a:pt x="114" y="1449"/>
                    <a:pt x="120" y="1445"/>
                  </a:cubicBezTo>
                  <a:cubicBezTo>
                    <a:pt x="126" y="1441"/>
                    <a:pt x="132" y="1437"/>
                    <a:pt x="137" y="1434"/>
                  </a:cubicBezTo>
                  <a:cubicBezTo>
                    <a:pt x="149" y="1428"/>
                    <a:pt x="160" y="1424"/>
                    <a:pt x="170" y="1420"/>
                  </a:cubicBezTo>
                  <a:cubicBezTo>
                    <a:pt x="181" y="1416"/>
                    <a:pt x="191" y="1413"/>
                    <a:pt x="201" y="1410"/>
                  </a:cubicBezTo>
                  <a:cubicBezTo>
                    <a:pt x="211" y="1407"/>
                    <a:pt x="221" y="1405"/>
                    <a:pt x="231" y="1402"/>
                  </a:cubicBezTo>
                  <a:cubicBezTo>
                    <a:pt x="240" y="1400"/>
                    <a:pt x="248" y="1398"/>
                    <a:pt x="256" y="1396"/>
                  </a:cubicBezTo>
                  <a:cubicBezTo>
                    <a:pt x="256" y="1486"/>
                    <a:pt x="256" y="1486"/>
                    <a:pt x="256" y="1486"/>
                  </a:cubicBezTo>
                  <a:cubicBezTo>
                    <a:pt x="256" y="1486"/>
                    <a:pt x="256" y="1486"/>
                    <a:pt x="255" y="1486"/>
                  </a:cubicBezTo>
                  <a:cubicBezTo>
                    <a:pt x="246" y="1488"/>
                    <a:pt x="236" y="1489"/>
                    <a:pt x="227" y="1491"/>
                  </a:cubicBezTo>
                  <a:cubicBezTo>
                    <a:pt x="218" y="1493"/>
                    <a:pt x="208" y="1495"/>
                    <a:pt x="199" y="1497"/>
                  </a:cubicBezTo>
                  <a:cubicBezTo>
                    <a:pt x="191" y="1499"/>
                    <a:pt x="182" y="1502"/>
                    <a:pt x="174" y="1505"/>
                  </a:cubicBezTo>
                  <a:cubicBezTo>
                    <a:pt x="167" y="1508"/>
                    <a:pt x="160" y="1511"/>
                    <a:pt x="155" y="1514"/>
                  </a:cubicBezTo>
                  <a:cubicBezTo>
                    <a:pt x="153" y="1516"/>
                    <a:pt x="152" y="1517"/>
                    <a:pt x="151" y="1518"/>
                  </a:cubicBezTo>
                  <a:cubicBezTo>
                    <a:pt x="151" y="1519"/>
                    <a:pt x="150" y="1519"/>
                    <a:pt x="150" y="1519"/>
                  </a:cubicBezTo>
                  <a:cubicBezTo>
                    <a:pt x="150" y="1519"/>
                    <a:pt x="150" y="1519"/>
                    <a:pt x="150" y="1520"/>
                  </a:cubicBezTo>
                  <a:cubicBezTo>
                    <a:pt x="149" y="1520"/>
                    <a:pt x="149" y="1520"/>
                    <a:pt x="149" y="1520"/>
                  </a:cubicBezTo>
                  <a:cubicBezTo>
                    <a:pt x="149" y="1520"/>
                    <a:pt x="149" y="1521"/>
                    <a:pt x="149" y="1521"/>
                  </a:cubicBezTo>
                  <a:cubicBezTo>
                    <a:pt x="149" y="1526"/>
                    <a:pt x="150" y="1530"/>
                    <a:pt x="153" y="1534"/>
                  </a:cubicBezTo>
                  <a:cubicBezTo>
                    <a:pt x="156" y="1538"/>
                    <a:pt x="162" y="1542"/>
                    <a:pt x="169" y="1546"/>
                  </a:cubicBezTo>
                  <a:cubicBezTo>
                    <a:pt x="176" y="1549"/>
                    <a:pt x="185" y="1552"/>
                    <a:pt x="194" y="1554"/>
                  </a:cubicBezTo>
                  <a:cubicBezTo>
                    <a:pt x="212" y="1558"/>
                    <a:pt x="231" y="1561"/>
                    <a:pt x="250" y="1563"/>
                  </a:cubicBezTo>
                  <a:cubicBezTo>
                    <a:pt x="270" y="1565"/>
                    <a:pt x="290" y="1566"/>
                    <a:pt x="310" y="1568"/>
                  </a:cubicBezTo>
                  <a:cubicBezTo>
                    <a:pt x="330" y="1571"/>
                    <a:pt x="350" y="1573"/>
                    <a:pt x="371" y="1580"/>
                  </a:cubicBezTo>
                  <a:cubicBezTo>
                    <a:pt x="376" y="1581"/>
                    <a:pt x="381" y="1583"/>
                    <a:pt x="386" y="1585"/>
                  </a:cubicBezTo>
                  <a:cubicBezTo>
                    <a:pt x="388" y="1586"/>
                    <a:pt x="391" y="1587"/>
                    <a:pt x="393" y="1589"/>
                  </a:cubicBezTo>
                  <a:cubicBezTo>
                    <a:pt x="396" y="1590"/>
                    <a:pt x="398" y="1591"/>
                    <a:pt x="400" y="1593"/>
                  </a:cubicBezTo>
                  <a:cubicBezTo>
                    <a:pt x="409" y="1599"/>
                    <a:pt x="417" y="1605"/>
                    <a:pt x="425" y="1613"/>
                  </a:cubicBezTo>
                  <a:cubicBezTo>
                    <a:pt x="439" y="1629"/>
                    <a:pt x="450" y="1647"/>
                    <a:pt x="457" y="1666"/>
                  </a:cubicBezTo>
                  <a:close/>
                  <a:moveTo>
                    <a:pt x="533" y="1279"/>
                  </a:moveTo>
                  <a:cubicBezTo>
                    <a:pt x="528" y="1268"/>
                    <a:pt x="522" y="1259"/>
                    <a:pt x="516" y="1251"/>
                  </a:cubicBezTo>
                  <a:cubicBezTo>
                    <a:pt x="509" y="1243"/>
                    <a:pt x="502" y="1237"/>
                    <a:pt x="496" y="1231"/>
                  </a:cubicBezTo>
                  <a:cubicBezTo>
                    <a:pt x="483" y="1221"/>
                    <a:pt x="470" y="1214"/>
                    <a:pt x="459" y="1209"/>
                  </a:cubicBezTo>
                  <a:cubicBezTo>
                    <a:pt x="435" y="1197"/>
                    <a:pt x="414" y="1191"/>
                    <a:pt x="392" y="1186"/>
                  </a:cubicBezTo>
                  <a:cubicBezTo>
                    <a:pt x="371" y="1181"/>
                    <a:pt x="351" y="1177"/>
                    <a:pt x="331" y="1173"/>
                  </a:cubicBezTo>
                  <a:cubicBezTo>
                    <a:pt x="272" y="1164"/>
                    <a:pt x="272" y="1164"/>
                    <a:pt x="272" y="1164"/>
                  </a:cubicBezTo>
                  <a:cubicBezTo>
                    <a:pt x="253" y="1161"/>
                    <a:pt x="234" y="1158"/>
                    <a:pt x="215" y="1154"/>
                  </a:cubicBezTo>
                  <a:cubicBezTo>
                    <a:pt x="197" y="1150"/>
                    <a:pt x="179" y="1145"/>
                    <a:pt x="164" y="1139"/>
                  </a:cubicBezTo>
                  <a:cubicBezTo>
                    <a:pt x="148" y="1134"/>
                    <a:pt x="133" y="1126"/>
                    <a:pt x="126" y="1119"/>
                  </a:cubicBezTo>
                  <a:cubicBezTo>
                    <a:pt x="124" y="1117"/>
                    <a:pt x="122" y="1116"/>
                    <a:pt x="121" y="1114"/>
                  </a:cubicBezTo>
                  <a:cubicBezTo>
                    <a:pt x="120" y="1113"/>
                    <a:pt x="119" y="1111"/>
                    <a:pt x="119" y="1110"/>
                  </a:cubicBezTo>
                  <a:cubicBezTo>
                    <a:pt x="118" y="1109"/>
                    <a:pt x="118" y="1108"/>
                    <a:pt x="118" y="1106"/>
                  </a:cubicBezTo>
                  <a:cubicBezTo>
                    <a:pt x="118" y="1105"/>
                    <a:pt x="118" y="1103"/>
                    <a:pt x="118" y="1102"/>
                  </a:cubicBezTo>
                  <a:cubicBezTo>
                    <a:pt x="119" y="1100"/>
                    <a:pt x="119" y="1099"/>
                    <a:pt x="121" y="1097"/>
                  </a:cubicBezTo>
                  <a:cubicBezTo>
                    <a:pt x="122" y="1095"/>
                    <a:pt x="124" y="1094"/>
                    <a:pt x="126" y="1093"/>
                  </a:cubicBezTo>
                  <a:cubicBezTo>
                    <a:pt x="128" y="1091"/>
                    <a:pt x="131" y="1090"/>
                    <a:pt x="134" y="1088"/>
                  </a:cubicBezTo>
                  <a:cubicBezTo>
                    <a:pt x="146" y="1083"/>
                    <a:pt x="162" y="1078"/>
                    <a:pt x="179" y="1075"/>
                  </a:cubicBezTo>
                  <a:cubicBezTo>
                    <a:pt x="197" y="1072"/>
                    <a:pt x="215" y="1070"/>
                    <a:pt x="234" y="1069"/>
                  </a:cubicBezTo>
                  <a:cubicBezTo>
                    <a:pt x="242" y="1068"/>
                    <a:pt x="249" y="1068"/>
                    <a:pt x="256" y="1067"/>
                  </a:cubicBezTo>
                  <a:cubicBezTo>
                    <a:pt x="256" y="943"/>
                    <a:pt x="256" y="943"/>
                    <a:pt x="256" y="943"/>
                  </a:cubicBezTo>
                  <a:cubicBezTo>
                    <a:pt x="243" y="944"/>
                    <a:pt x="229" y="946"/>
                    <a:pt x="216" y="947"/>
                  </a:cubicBezTo>
                  <a:cubicBezTo>
                    <a:pt x="195" y="949"/>
                    <a:pt x="173" y="953"/>
                    <a:pt x="150" y="958"/>
                  </a:cubicBezTo>
                  <a:cubicBezTo>
                    <a:pt x="144" y="959"/>
                    <a:pt x="139" y="960"/>
                    <a:pt x="133" y="962"/>
                  </a:cubicBezTo>
                  <a:cubicBezTo>
                    <a:pt x="127" y="964"/>
                    <a:pt x="121" y="965"/>
                    <a:pt x="115" y="967"/>
                  </a:cubicBezTo>
                  <a:cubicBezTo>
                    <a:pt x="102" y="972"/>
                    <a:pt x="89" y="977"/>
                    <a:pt x="76" y="985"/>
                  </a:cubicBezTo>
                  <a:cubicBezTo>
                    <a:pt x="69" y="988"/>
                    <a:pt x="61" y="993"/>
                    <a:pt x="54" y="999"/>
                  </a:cubicBezTo>
                  <a:cubicBezTo>
                    <a:pt x="47" y="1004"/>
                    <a:pt x="39" y="1011"/>
                    <a:pt x="32" y="1019"/>
                  </a:cubicBezTo>
                  <a:cubicBezTo>
                    <a:pt x="25" y="1028"/>
                    <a:pt x="18" y="1038"/>
                    <a:pt x="13" y="1049"/>
                  </a:cubicBezTo>
                  <a:cubicBezTo>
                    <a:pt x="8" y="1060"/>
                    <a:pt x="4" y="1072"/>
                    <a:pt x="2" y="1083"/>
                  </a:cubicBezTo>
                  <a:cubicBezTo>
                    <a:pt x="1" y="1095"/>
                    <a:pt x="0" y="1106"/>
                    <a:pt x="2" y="1117"/>
                  </a:cubicBezTo>
                  <a:cubicBezTo>
                    <a:pt x="3" y="1128"/>
                    <a:pt x="5" y="1140"/>
                    <a:pt x="10" y="1150"/>
                  </a:cubicBezTo>
                  <a:cubicBezTo>
                    <a:pt x="14" y="1161"/>
                    <a:pt x="19" y="1171"/>
                    <a:pt x="25" y="1179"/>
                  </a:cubicBezTo>
                  <a:cubicBezTo>
                    <a:pt x="31" y="1188"/>
                    <a:pt x="38" y="1195"/>
                    <a:pt x="44" y="1201"/>
                  </a:cubicBezTo>
                  <a:cubicBezTo>
                    <a:pt x="57" y="1213"/>
                    <a:pt x="70" y="1222"/>
                    <a:pt x="82" y="1228"/>
                  </a:cubicBezTo>
                  <a:cubicBezTo>
                    <a:pt x="95" y="1235"/>
                    <a:pt x="107" y="1240"/>
                    <a:pt x="118" y="1244"/>
                  </a:cubicBezTo>
                  <a:cubicBezTo>
                    <a:pt x="141" y="1253"/>
                    <a:pt x="163" y="1258"/>
                    <a:pt x="184" y="1263"/>
                  </a:cubicBezTo>
                  <a:cubicBezTo>
                    <a:pt x="205" y="1267"/>
                    <a:pt x="225" y="1270"/>
                    <a:pt x="245" y="1273"/>
                  </a:cubicBezTo>
                  <a:cubicBezTo>
                    <a:pt x="304" y="1282"/>
                    <a:pt x="304" y="1282"/>
                    <a:pt x="304" y="1282"/>
                  </a:cubicBezTo>
                  <a:cubicBezTo>
                    <a:pt x="324" y="1285"/>
                    <a:pt x="343" y="1288"/>
                    <a:pt x="361" y="1291"/>
                  </a:cubicBezTo>
                  <a:cubicBezTo>
                    <a:pt x="379" y="1295"/>
                    <a:pt x="396" y="1300"/>
                    <a:pt x="410" y="1306"/>
                  </a:cubicBezTo>
                  <a:cubicBezTo>
                    <a:pt x="418" y="1309"/>
                    <a:pt x="424" y="1312"/>
                    <a:pt x="428" y="1315"/>
                  </a:cubicBezTo>
                  <a:cubicBezTo>
                    <a:pt x="433" y="1318"/>
                    <a:pt x="434" y="1320"/>
                    <a:pt x="435" y="1321"/>
                  </a:cubicBezTo>
                  <a:cubicBezTo>
                    <a:pt x="435" y="1321"/>
                    <a:pt x="435" y="1321"/>
                    <a:pt x="436" y="1321"/>
                  </a:cubicBezTo>
                  <a:cubicBezTo>
                    <a:pt x="436" y="1321"/>
                    <a:pt x="436" y="1322"/>
                    <a:pt x="436" y="1322"/>
                  </a:cubicBezTo>
                  <a:cubicBezTo>
                    <a:pt x="436" y="1323"/>
                    <a:pt x="436" y="1323"/>
                    <a:pt x="436" y="1324"/>
                  </a:cubicBezTo>
                  <a:cubicBezTo>
                    <a:pt x="435" y="1326"/>
                    <a:pt x="434" y="1329"/>
                    <a:pt x="431" y="1332"/>
                  </a:cubicBezTo>
                  <a:cubicBezTo>
                    <a:pt x="428" y="1336"/>
                    <a:pt x="423" y="1341"/>
                    <a:pt x="417" y="1345"/>
                  </a:cubicBezTo>
                  <a:cubicBezTo>
                    <a:pt x="411" y="1349"/>
                    <a:pt x="404" y="1352"/>
                    <a:pt x="396" y="1356"/>
                  </a:cubicBezTo>
                  <a:cubicBezTo>
                    <a:pt x="394" y="1357"/>
                    <a:pt x="391" y="1358"/>
                    <a:pt x="388" y="1359"/>
                  </a:cubicBezTo>
                  <a:cubicBezTo>
                    <a:pt x="388" y="1463"/>
                    <a:pt x="388" y="1463"/>
                    <a:pt x="388" y="1463"/>
                  </a:cubicBezTo>
                  <a:cubicBezTo>
                    <a:pt x="395" y="1461"/>
                    <a:pt x="401" y="1459"/>
                    <a:pt x="407" y="1458"/>
                  </a:cubicBezTo>
                  <a:cubicBezTo>
                    <a:pt x="412" y="1456"/>
                    <a:pt x="418" y="1454"/>
                    <a:pt x="423" y="1452"/>
                  </a:cubicBezTo>
                  <a:cubicBezTo>
                    <a:pt x="429" y="1451"/>
                    <a:pt x="434" y="1448"/>
                    <a:pt x="440" y="1446"/>
                  </a:cubicBezTo>
                  <a:cubicBezTo>
                    <a:pt x="451" y="1442"/>
                    <a:pt x="462" y="1436"/>
                    <a:pt x="474" y="1429"/>
                  </a:cubicBezTo>
                  <a:cubicBezTo>
                    <a:pt x="486" y="1422"/>
                    <a:pt x="498" y="1413"/>
                    <a:pt x="510" y="1400"/>
                  </a:cubicBezTo>
                  <a:cubicBezTo>
                    <a:pt x="515" y="1394"/>
                    <a:pt x="521" y="1386"/>
                    <a:pt x="526" y="1377"/>
                  </a:cubicBezTo>
                  <a:cubicBezTo>
                    <a:pt x="531" y="1368"/>
                    <a:pt x="535" y="1358"/>
                    <a:pt x="538" y="1348"/>
                  </a:cubicBezTo>
                  <a:cubicBezTo>
                    <a:pt x="539" y="1342"/>
                    <a:pt x="540" y="1337"/>
                    <a:pt x="541" y="1331"/>
                  </a:cubicBezTo>
                  <a:cubicBezTo>
                    <a:pt x="541" y="1329"/>
                    <a:pt x="541" y="1326"/>
                    <a:pt x="541" y="1323"/>
                  </a:cubicBezTo>
                  <a:cubicBezTo>
                    <a:pt x="541" y="1320"/>
                    <a:pt x="541" y="1317"/>
                    <a:pt x="541" y="1314"/>
                  </a:cubicBezTo>
                  <a:cubicBezTo>
                    <a:pt x="540" y="1303"/>
                    <a:pt x="537" y="1290"/>
                    <a:pt x="533" y="1279"/>
                  </a:cubicBezTo>
                  <a:close/>
                  <a:moveTo>
                    <a:pt x="1103" y="386"/>
                  </a:moveTo>
                  <a:cubicBezTo>
                    <a:pt x="1094" y="341"/>
                    <a:pt x="1081" y="297"/>
                    <a:pt x="1060" y="254"/>
                  </a:cubicBezTo>
                  <a:cubicBezTo>
                    <a:pt x="1039" y="211"/>
                    <a:pt x="1011" y="171"/>
                    <a:pt x="977" y="137"/>
                  </a:cubicBezTo>
                  <a:cubicBezTo>
                    <a:pt x="943" y="102"/>
                    <a:pt x="902" y="74"/>
                    <a:pt x="860" y="54"/>
                  </a:cubicBezTo>
                  <a:cubicBezTo>
                    <a:pt x="817" y="33"/>
                    <a:pt x="772" y="19"/>
                    <a:pt x="727" y="11"/>
                  </a:cubicBezTo>
                  <a:cubicBezTo>
                    <a:pt x="682" y="3"/>
                    <a:pt x="636" y="0"/>
                    <a:pt x="591" y="2"/>
                  </a:cubicBezTo>
                  <a:cubicBezTo>
                    <a:pt x="546" y="4"/>
                    <a:pt x="502" y="11"/>
                    <a:pt x="459" y="22"/>
                  </a:cubicBezTo>
                  <a:cubicBezTo>
                    <a:pt x="415" y="34"/>
                    <a:pt x="373" y="49"/>
                    <a:pt x="332" y="70"/>
                  </a:cubicBezTo>
                  <a:cubicBezTo>
                    <a:pt x="320" y="77"/>
                    <a:pt x="308" y="84"/>
                    <a:pt x="296" y="91"/>
                  </a:cubicBezTo>
                  <a:cubicBezTo>
                    <a:pt x="262" y="84"/>
                    <a:pt x="234" y="84"/>
                    <a:pt x="234" y="84"/>
                  </a:cubicBezTo>
                  <a:cubicBezTo>
                    <a:pt x="234" y="84"/>
                    <a:pt x="164" y="91"/>
                    <a:pt x="137" y="133"/>
                  </a:cubicBezTo>
                  <a:cubicBezTo>
                    <a:pt x="109" y="175"/>
                    <a:pt x="60" y="300"/>
                    <a:pt x="84" y="395"/>
                  </a:cubicBezTo>
                  <a:cubicBezTo>
                    <a:pt x="109" y="489"/>
                    <a:pt x="334" y="323"/>
                    <a:pt x="348" y="310"/>
                  </a:cubicBezTo>
                  <a:cubicBezTo>
                    <a:pt x="360" y="299"/>
                    <a:pt x="400" y="266"/>
                    <a:pt x="406" y="202"/>
                  </a:cubicBezTo>
                  <a:cubicBezTo>
                    <a:pt x="465" y="173"/>
                    <a:pt x="532" y="157"/>
                    <a:pt x="598" y="154"/>
                  </a:cubicBezTo>
                  <a:cubicBezTo>
                    <a:pt x="667" y="151"/>
                    <a:pt x="735" y="162"/>
                    <a:pt x="793" y="190"/>
                  </a:cubicBezTo>
                  <a:cubicBezTo>
                    <a:pt x="822" y="204"/>
                    <a:pt x="848" y="222"/>
                    <a:pt x="870" y="244"/>
                  </a:cubicBezTo>
                  <a:cubicBezTo>
                    <a:pt x="892" y="266"/>
                    <a:pt x="910" y="292"/>
                    <a:pt x="924" y="320"/>
                  </a:cubicBezTo>
                  <a:cubicBezTo>
                    <a:pt x="952" y="378"/>
                    <a:pt x="964" y="447"/>
                    <a:pt x="963" y="518"/>
                  </a:cubicBezTo>
                  <a:cubicBezTo>
                    <a:pt x="963" y="553"/>
                    <a:pt x="960" y="587"/>
                    <a:pt x="953" y="620"/>
                  </a:cubicBezTo>
                  <a:cubicBezTo>
                    <a:pt x="946" y="652"/>
                    <a:pt x="935" y="683"/>
                    <a:pt x="919" y="710"/>
                  </a:cubicBezTo>
                  <a:cubicBezTo>
                    <a:pt x="904" y="738"/>
                    <a:pt x="884" y="763"/>
                    <a:pt x="860" y="785"/>
                  </a:cubicBezTo>
                  <a:cubicBezTo>
                    <a:pt x="836" y="807"/>
                    <a:pt x="807" y="826"/>
                    <a:pt x="777" y="842"/>
                  </a:cubicBezTo>
                  <a:cubicBezTo>
                    <a:pt x="746" y="859"/>
                    <a:pt x="712" y="872"/>
                    <a:pt x="677" y="883"/>
                  </a:cubicBezTo>
                  <a:cubicBezTo>
                    <a:pt x="642" y="894"/>
                    <a:pt x="606" y="902"/>
                    <a:pt x="569" y="910"/>
                  </a:cubicBezTo>
                  <a:cubicBezTo>
                    <a:pt x="531" y="917"/>
                    <a:pt x="494" y="922"/>
                    <a:pt x="455" y="927"/>
                  </a:cubicBezTo>
                  <a:cubicBezTo>
                    <a:pt x="436" y="930"/>
                    <a:pt x="416" y="931"/>
                    <a:pt x="397" y="933"/>
                  </a:cubicBezTo>
                  <a:cubicBezTo>
                    <a:pt x="394" y="934"/>
                    <a:pt x="391" y="934"/>
                    <a:pt x="388" y="934"/>
                  </a:cubicBezTo>
                  <a:cubicBezTo>
                    <a:pt x="388" y="1062"/>
                    <a:pt x="388" y="1062"/>
                    <a:pt x="388" y="1062"/>
                  </a:cubicBezTo>
                  <a:cubicBezTo>
                    <a:pt x="396" y="1062"/>
                    <a:pt x="403" y="1062"/>
                    <a:pt x="411" y="1061"/>
                  </a:cubicBezTo>
                  <a:cubicBezTo>
                    <a:pt x="431" y="1060"/>
                    <a:pt x="451" y="1059"/>
                    <a:pt x="471" y="1057"/>
                  </a:cubicBezTo>
                  <a:cubicBezTo>
                    <a:pt x="511" y="1053"/>
                    <a:pt x="552" y="1048"/>
                    <a:pt x="593" y="1041"/>
                  </a:cubicBezTo>
                  <a:cubicBezTo>
                    <a:pt x="634" y="1034"/>
                    <a:pt x="675" y="1026"/>
                    <a:pt x="717" y="1014"/>
                  </a:cubicBezTo>
                  <a:cubicBezTo>
                    <a:pt x="758" y="1003"/>
                    <a:pt x="799" y="988"/>
                    <a:pt x="839" y="968"/>
                  </a:cubicBezTo>
                  <a:cubicBezTo>
                    <a:pt x="860" y="959"/>
                    <a:pt x="880" y="948"/>
                    <a:pt x="899" y="935"/>
                  </a:cubicBezTo>
                  <a:cubicBezTo>
                    <a:pt x="918" y="923"/>
                    <a:pt x="937" y="909"/>
                    <a:pt x="955" y="893"/>
                  </a:cubicBezTo>
                  <a:cubicBezTo>
                    <a:pt x="990" y="863"/>
                    <a:pt x="1021" y="825"/>
                    <a:pt x="1046" y="784"/>
                  </a:cubicBezTo>
                  <a:cubicBezTo>
                    <a:pt x="1070" y="743"/>
                    <a:pt x="1087" y="698"/>
                    <a:pt x="1098" y="654"/>
                  </a:cubicBezTo>
                  <a:cubicBezTo>
                    <a:pt x="1108" y="609"/>
                    <a:pt x="1113" y="563"/>
                    <a:pt x="1114" y="519"/>
                  </a:cubicBezTo>
                  <a:cubicBezTo>
                    <a:pt x="1114" y="475"/>
                    <a:pt x="1111" y="431"/>
                    <a:pt x="1103" y="386"/>
                  </a:cubicBez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4815" name="Oval 18"/>
            <p:cNvSpPr>
              <a:spLocks noChangeArrowheads="1"/>
            </p:cNvSpPr>
            <p:nvPr/>
          </p:nvSpPr>
          <p:spPr bwMode="auto">
            <a:xfrm>
              <a:off x="4682" y="863"/>
              <a:ext cx="63" cy="64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>
                <a:latin typeface="PT Sans Caption"/>
              </a:endParaRPr>
            </a:p>
          </p:txBody>
        </p:sp>
      </p:grpSp>
      <p:grpSp>
        <p:nvGrpSpPr>
          <p:cNvPr id="74801" name="bcgIcons_DepartmentStore"/>
          <p:cNvGrpSpPr>
            <a:grpSpLocks noChangeAspect="1"/>
          </p:cNvGrpSpPr>
          <p:nvPr/>
        </p:nvGrpSpPr>
        <p:grpSpPr bwMode="auto">
          <a:xfrm>
            <a:off x="7250113" y="1162050"/>
            <a:ext cx="1177925" cy="1177925"/>
            <a:chOff x="1682" y="0"/>
            <a:chExt cx="4316" cy="4320"/>
          </a:xfrm>
        </p:grpSpPr>
        <p:sp>
          <p:nvSpPr>
            <p:cNvPr id="74809" name="AutoShape 8"/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4810" name="Freeform 10"/>
            <p:cNvSpPr>
              <a:spLocks noEditPoints="1"/>
            </p:cNvSpPr>
            <p:nvPr/>
          </p:nvSpPr>
          <p:spPr bwMode="auto">
            <a:xfrm>
              <a:off x="3312" y="2079"/>
              <a:ext cx="2495" cy="1740"/>
            </a:xfrm>
            <a:custGeom>
              <a:avLst/>
              <a:gdLst>
                <a:gd name="T0" fmla="*/ 708 w 1332"/>
                <a:gd name="T1" fmla="*/ 1738 h 928"/>
                <a:gd name="T2" fmla="*/ 476 w 1332"/>
                <a:gd name="T3" fmla="*/ 1738 h 928"/>
                <a:gd name="T4" fmla="*/ 345 w 1332"/>
                <a:gd name="T5" fmla="*/ 1629 h 928"/>
                <a:gd name="T6" fmla="*/ 270 w 1332"/>
                <a:gd name="T7" fmla="*/ 1431 h 928"/>
                <a:gd name="T8" fmla="*/ 176 w 1332"/>
                <a:gd name="T9" fmla="*/ 1286 h 928"/>
                <a:gd name="T10" fmla="*/ 146 w 1332"/>
                <a:gd name="T11" fmla="*/ 1271 h 928"/>
                <a:gd name="T12" fmla="*/ 127 w 1332"/>
                <a:gd name="T13" fmla="*/ 1301 h 928"/>
                <a:gd name="T14" fmla="*/ 127 w 1332"/>
                <a:gd name="T15" fmla="*/ 1695 h 928"/>
                <a:gd name="T16" fmla="*/ 127 w 1332"/>
                <a:gd name="T17" fmla="*/ 1716 h 928"/>
                <a:gd name="T18" fmla="*/ 109 w 1332"/>
                <a:gd name="T19" fmla="*/ 1738 h 928"/>
                <a:gd name="T20" fmla="*/ 84 w 1332"/>
                <a:gd name="T21" fmla="*/ 1719 h 928"/>
                <a:gd name="T22" fmla="*/ 81 w 1332"/>
                <a:gd name="T23" fmla="*/ 1680 h 928"/>
                <a:gd name="T24" fmla="*/ 60 w 1332"/>
                <a:gd name="T25" fmla="*/ 1421 h 928"/>
                <a:gd name="T26" fmla="*/ 17 w 1332"/>
                <a:gd name="T27" fmla="*/ 1142 h 928"/>
                <a:gd name="T28" fmla="*/ 2 w 1332"/>
                <a:gd name="T29" fmla="*/ 1035 h 928"/>
                <a:gd name="T30" fmla="*/ 105 w 1332"/>
                <a:gd name="T31" fmla="*/ 840 h 928"/>
                <a:gd name="T32" fmla="*/ 191 w 1332"/>
                <a:gd name="T33" fmla="*/ 778 h 928"/>
                <a:gd name="T34" fmla="*/ 227 w 1332"/>
                <a:gd name="T35" fmla="*/ 786 h 928"/>
                <a:gd name="T36" fmla="*/ 386 w 1332"/>
                <a:gd name="T37" fmla="*/ 1080 h 928"/>
                <a:gd name="T38" fmla="*/ 489 w 1332"/>
                <a:gd name="T39" fmla="*/ 1350 h 928"/>
                <a:gd name="T40" fmla="*/ 575 w 1332"/>
                <a:gd name="T41" fmla="*/ 1489 h 928"/>
                <a:gd name="T42" fmla="*/ 723 w 1332"/>
                <a:gd name="T43" fmla="*/ 1547 h 928"/>
                <a:gd name="T44" fmla="*/ 742 w 1332"/>
                <a:gd name="T45" fmla="*/ 1553 h 928"/>
                <a:gd name="T46" fmla="*/ 965 w 1332"/>
                <a:gd name="T47" fmla="*/ 1701 h 928"/>
                <a:gd name="T48" fmla="*/ 978 w 1332"/>
                <a:gd name="T49" fmla="*/ 1725 h 928"/>
                <a:gd name="T50" fmla="*/ 955 w 1332"/>
                <a:gd name="T51" fmla="*/ 1738 h 928"/>
                <a:gd name="T52" fmla="*/ 708 w 1332"/>
                <a:gd name="T53" fmla="*/ 1738 h 928"/>
                <a:gd name="T54" fmla="*/ 2495 w 1332"/>
                <a:gd name="T55" fmla="*/ 902 h 928"/>
                <a:gd name="T56" fmla="*/ 2486 w 1332"/>
                <a:gd name="T57" fmla="*/ 716 h 928"/>
                <a:gd name="T58" fmla="*/ 2471 w 1332"/>
                <a:gd name="T59" fmla="*/ 401 h 928"/>
                <a:gd name="T60" fmla="*/ 2456 w 1332"/>
                <a:gd name="T61" fmla="*/ 101 h 928"/>
                <a:gd name="T62" fmla="*/ 2353 w 1332"/>
                <a:gd name="T63" fmla="*/ 2 h 928"/>
                <a:gd name="T64" fmla="*/ 2135 w 1332"/>
                <a:gd name="T65" fmla="*/ 4 h 928"/>
                <a:gd name="T66" fmla="*/ 2180 w 1332"/>
                <a:gd name="T67" fmla="*/ 182 h 928"/>
                <a:gd name="T68" fmla="*/ 2002 w 1332"/>
                <a:gd name="T69" fmla="*/ 371 h 928"/>
                <a:gd name="T70" fmla="*/ 1811 w 1332"/>
                <a:gd name="T71" fmla="*/ 189 h 928"/>
                <a:gd name="T72" fmla="*/ 1871 w 1332"/>
                <a:gd name="T73" fmla="*/ 4 h 928"/>
                <a:gd name="T74" fmla="*/ 1590 w 1332"/>
                <a:gd name="T75" fmla="*/ 4 h 928"/>
                <a:gd name="T76" fmla="*/ 1637 w 1332"/>
                <a:gd name="T77" fmla="*/ 182 h 928"/>
                <a:gd name="T78" fmla="*/ 1459 w 1332"/>
                <a:gd name="T79" fmla="*/ 371 h 928"/>
                <a:gd name="T80" fmla="*/ 1268 w 1332"/>
                <a:gd name="T81" fmla="*/ 189 h 928"/>
                <a:gd name="T82" fmla="*/ 1328 w 1332"/>
                <a:gd name="T83" fmla="*/ 4 h 928"/>
                <a:gd name="T84" fmla="*/ 1092 w 1332"/>
                <a:gd name="T85" fmla="*/ 4 h 928"/>
                <a:gd name="T86" fmla="*/ 1004 w 1332"/>
                <a:gd name="T87" fmla="*/ 83 h 928"/>
                <a:gd name="T88" fmla="*/ 998 w 1332"/>
                <a:gd name="T89" fmla="*/ 165 h 928"/>
                <a:gd name="T90" fmla="*/ 989 w 1332"/>
                <a:gd name="T91" fmla="*/ 366 h 928"/>
                <a:gd name="T92" fmla="*/ 978 w 1332"/>
                <a:gd name="T93" fmla="*/ 628 h 928"/>
                <a:gd name="T94" fmla="*/ 967 w 1332"/>
                <a:gd name="T95" fmla="*/ 836 h 928"/>
                <a:gd name="T96" fmla="*/ 967 w 1332"/>
                <a:gd name="T97" fmla="*/ 947 h 928"/>
                <a:gd name="T98" fmla="*/ 1038 w 1332"/>
                <a:gd name="T99" fmla="*/ 1035 h 928"/>
                <a:gd name="T100" fmla="*/ 1092 w 1332"/>
                <a:gd name="T101" fmla="*/ 1043 h 928"/>
                <a:gd name="T102" fmla="*/ 2364 w 1332"/>
                <a:gd name="T103" fmla="*/ 1043 h 928"/>
                <a:gd name="T104" fmla="*/ 2405 w 1332"/>
                <a:gd name="T105" fmla="*/ 1039 h 928"/>
                <a:gd name="T106" fmla="*/ 2489 w 1332"/>
                <a:gd name="T107" fmla="*/ 962 h 928"/>
                <a:gd name="T108" fmla="*/ 2495 w 1332"/>
                <a:gd name="T109" fmla="*/ 902 h 9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2"/>
                <a:gd name="T166" fmla="*/ 0 h 928"/>
                <a:gd name="T167" fmla="*/ 1332 w 1332"/>
                <a:gd name="T168" fmla="*/ 928 h 9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2" h="928">
                  <a:moveTo>
                    <a:pt x="378" y="927"/>
                  </a:moveTo>
                  <a:cubicBezTo>
                    <a:pt x="336" y="927"/>
                    <a:pt x="295" y="926"/>
                    <a:pt x="254" y="927"/>
                  </a:cubicBezTo>
                  <a:cubicBezTo>
                    <a:pt x="219" y="928"/>
                    <a:pt x="188" y="904"/>
                    <a:pt x="184" y="869"/>
                  </a:cubicBezTo>
                  <a:cubicBezTo>
                    <a:pt x="179" y="830"/>
                    <a:pt x="164" y="796"/>
                    <a:pt x="144" y="763"/>
                  </a:cubicBezTo>
                  <a:cubicBezTo>
                    <a:pt x="128" y="737"/>
                    <a:pt x="110" y="712"/>
                    <a:pt x="94" y="686"/>
                  </a:cubicBezTo>
                  <a:cubicBezTo>
                    <a:pt x="90" y="680"/>
                    <a:pt x="86" y="676"/>
                    <a:pt x="78" y="678"/>
                  </a:cubicBezTo>
                  <a:cubicBezTo>
                    <a:pt x="72" y="680"/>
                    <a:pt x="68" y="685"/>
                    <a:pt x="68" y="694"/>
                  </a:cubicBezTo>
                  <a:cubicBezTo>
                    <a:pt x="68" y="764"/>
                    <a:pt x="68" y="834"/>
                    <a:pt x="68" y="904"/>
                  </a:cubicBezTo>
                  <a:cubicBezTo>
                    <a:pt x="68" y="908"/>
                    <a:pt x="68" y="911"/>
                    <a:pt x="68" y="915"/>
                  </a:cubicBezTo>
                  <a:cubicBezTo>
                    <a:pt x="68" y="921"/>
                    <a:pt x="64" y="926"/>
                    <a:pt x="58" y="927"/>
                  </a:cubicBezTo>
                  <a:cubicBezTo>
                    <a:pt x="52" y="928"/>
                    <a:pt x="46" y="923"/>
                    <a:pt x="45" y="917"/>
                  </a:cubicBezTo>
                  <a:cubicBezTo>
                    <a:pt x="44" y="910"/>
                    <a:pt x="44" y="903"/>
                    <a:pt x="43" y="896"/>
                  </a:cubicBezTo>
                  <a:cubicBezTo>
                    <a:pt x="39" y="850"/>
                    <a:pt x="35" y="804"/>
                    <a:pt x="32" y="758"/>
                  </a:cubicBezTo>
                  <a:cubicBezTo>
                    <a:pt x="28" y="708"/>
                    <a:pt x="19" y="659"/>
                    <a:pt x="9" y="609"/>
                  </a:cubicBezTo>
                  <a:cubicBezTo>
                    <a:pt x="5" y="590"/>
                    <a:pt x="0" y="571"/>
                    <a:pt x="1" y="552"/>
                  </a:cubicBezTo>
                  <a:cubicBezTo>
                    <a:pt x="3" y="508"/>
                    <a:pt x="20" y="473"/>
                    <a:pt x="56" y="448"/>
                  </a:cubicBezTo>
                  <a:cubicBezTo>
                    <a:pt x="71" y="437"/>
                    <a:pt x="86" y="426"/>
                    <a:pt x="102" y="415"/>
                  </a:cubicBezTo>
                  <a:cubicBezTo>
                    <a:pt x="111" y="408"/>
                    <a:pt x="116" y="409"/>
                    <a:pt x="121" y="419"/>
                  </a:cubicBezTo>
                  <a:cubicBezTo>
                    <a:pt x="150" y="471"/>
                    <a:pt x="179" y="523"/>
                    <a:pt x="206" y="576"/>
                  </a:cubicBezTo>
                  <a:cubicBezTo>
                    <a:pt x="231" y="622"/>
                    <a:pt x="247" y="671"/>
                    <a:pt x="261" y="720"/>
                  </a:cubicBezTo>
                  <a:cubicBezTo>
                    <a:pt x="269" y="749"/>
                    <a:pt x="283" y="775"/>
                    <a:pt x="307" y="794"/>
                  </a:cubicBezTo>
                  <a:cubicBezTo>
                    <a:pt x="330" y="813"/>
                    <a:pt x="356" y="823"/>
                    <a:pt x="386" y="825"/>
                  </a:cubicBezTo>
                  <a:cubicBezTo>
                    <a:pt x="389" y="825"/>
                    <a:pt x="393" y="826"/>
                    <a:pt x="396" y="828"/>
                  </a:cubicBezTo>
                  <a:cubicBezTo>
                    <a:pt x="436" y="854"/>
                    <a:pt x="476" y="881"/>
                    <a:pt x="515" y="907"/>
                  </a:cubicBezTo>
                  <a:cubicBezTo>
                    <a:pt x="520" y="911"/>
                    <a:pt x="523" y="914"/>
                    <a:pt x="522" y="920"/>
                  </a:cubicBezTo>
                  <a:cubicBezTo>
                    <a:pt x="520" y="926"/>
                    <a:pt x="515" y="927"/>
                    <a:pt x="510" y="927"/>
                  </a:cubicBezTo>
                  <a:cubicBezTo>
                    <a:pt x="466" y="927"/>
                    <a:pt x="422" y="927"/>
                    <a:pt x="378" y="927"/>
                  </a:cubicBezTo>
                  <a:close/>
                  <a:moveTo>
                    <a:pt x="1332" y="481"/>
                  </a:moveTo>
                  <a:cubicBezTo>
                    <a:pt x="1331" y="448"/>
                    <a:pt x="1329" y="415"/>
                    <a:pt x="1327" y="382"/>
                  </a:cubicBezTo>
                  <a:cubicBezTo>
                    <a:pt x="1325" y="326"/>
                    <a:pt x="1322" y="270"/>
                    <a:pt x="1319" y="214"/>
                  </a:cubicBezTo>
                  <a:cubicBezTo>
                    <a:pt x="1316" y="161"/>
                    <a:pt x="1314" y="107"/>
                    <a:pt x="1311" y="54"/>
                  </a:cubicBezTo>
                  <a:cubicBezTo>
                    <a:pt x="1310" y="26"/>
                    <a:pt x="1291" y="0"/>
                    <a:pt x="1256" y="1"/>
                  </a:cubicBezTo>
                  <a:cubicBezTo>
                    <a:pt x="1217" y="3"/>
                    <a:pt x="1178" y="2"/>
                    <a:pt x="1140" y="2"/>
                  </a:cubicBezTo>
                  <a:cubicBezTo>
                    <a:pt x="1164" y="97"/>
                    <a:pt x="1164" y="97"/>
                    <a:pt x="1164" y="97"/>
                  </a:cubicBezTo>
                  <a:cubicBezTo>
                    <a:pt x="1069" y="198"/>
                    <a:pt x="1069" y="198"/>
                    <a:pt x="1069" y="198"/>
                  </a:cubicBezTo>
                  <a:cubicBezTo>
                    <a:pt x="967" y="101"/>
                    <a:pt x="967" y="101"/>
                    <a:pt x="967" y="101"/>
                  </a:cubicBezTo>
                  <a:cubicBezTo>
                    <a:pt x="999" y="2"/>
                    <a:pt x="999" y="2"/>
                    <a:pt x="999" y="2"/>
                  </a:cubicBezTo>
                  <a:cubicBezTo>
                    <a:pt x="949" y="2"/>
                    <a:pt x="899" y="2"/>
                    <a:pt x="849" y="2"/>
                  </a:cubicBezTo>
                  <a:cubicBezTo>
                    <a:pt x="874" y="97"/>
                    <a:pt x="874" y="97"/>
                    <a:pt x="874" y="97"/>
                  </a:cubicBezTo>
                  <a:cubicBezTo>
                    <a:pt x="779" y="198"/>
                    <a:pt x="779" y="198"/>
                    <a:pt x="779" y="198"/>
                  </a:cubicBezTo>
                  <a:cubicBezTo>
                    <a:pt x="677" y="101"/>
                    <a:pt x="677" y="101"/>
                    <a:pt x="677" y="101"/>
                  </a:cubicBezTo>
                  <a:cubicBezTo>
                    <a:pt x="709" y="2"/>
                    <a:pt x="709" y="2"/>
                    <a:pt x="709" y="2"/>
                  </a:cubicBezTo>
                  <a:cubicBezTo>
                    <a:pt x="667" y="2"/>
                    <a:pt x="625" y="2"/>
                    <a:pt x="583" y="2"/>
                  </a:cubicBezTo>
                  <a:cubicBezTo>
                    <a:pt x="557" y="2"/>
                    <a:pt x="540" y="18"/>
                    <a:pt x="536" y="44"/>
                  </a:cubicBezTo>
                  <a:cubicBezTo>
                    <a:pt x="534" y="59"/>
                    <a:pt x="534" y="74"/>
                    <a:pt x="533" y="88"/>
                  </a:cubicBezTo>
                  <a:cubicBezTo>
                    <a:pt x="532" y="124"/>
                    <a:pt x="530" y="159"/>
                    <a:pt x="528" y="195"/>
                  </a:cubicBezTo>
                  <a:cubicBezTo>
                    <a:pt x="526" y="242"/>
                    <a:pt x="524" y="288"/>
                    <a:pt x="522" y="335"/>
                  </a:cubicBezTo>
                  <a:cubicBezTo>
                    <a:pt x="520" y="372"/>
                    <a:pt x="518" y="409"/>
                    <a:pt x="516" y="446"/>
                  </a:cubicBezTo>
                  <a:cubicBezTo>
                    <a:pt x="515" y="466"/>
                    <a:pt x="515" y="486"/>
                    <a:pt x="516" y="505"/>
                  </a:cubicBezTo>
                  <a:cubicBezTo>
                    <a:pt x="518" y="530"/>
                    <a:pt x="533" y="548"/>
                    <a:pt x="554" y="552"/>
                  </a:cubicBezTo>
                  <a:cubicBezTo>
                    <a:pt x="564" y="555"/>
                    <a:pt x="573" y="556"/>
                    <a:pt x="583" y="556"/>
                  </a:cubicBezTo>
                  <a:cubicBezTo>
                    <a:pt x="809" y="556"/>
                    <a:pt x="1036" y="556"/>
                    <a:pt x="1262" y="556"/>
                  </a:cubicBezTo>
                  <a:cubicBezTo>
                    <a:pt x="1269" y="556"/>
                    <a:pt x="1277" y="555"/>
                    <a:pt x="1284" y="554"/>
                  </a:cubicBezTo>
                  <a:cubicBezTo>
                    <a:pt x="1309" y="551"/>
                    <a:pt x="1324" y="537"/>
                    <a:pt x="1329" y="513"/>
                  </a:cubicBezTo>
                  <a:cubicBezTo>
                    <a:pt x="1331" y="502"/>
                    <a:pt x="1332" y="491"/>
                    <a:pt x="1332" y="481"/>
                  </a:cubicBezTo>
                  <a:close/>
                </a:path>
              </a:pathLst>
            </a:custGeom>
            <a:solidFill>
              <a:srgbClr val="59595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4811" name="Freeform 11"/>
            <p:cNvSpPr>
              <a:spLocks noEditPoints="1"/>
            </p:cNvSpPr>
            <p:nvPr/>
          </p:nvSpPr>
          <p:spPr bwMode="auto">
            <a:xfrm>
              <a:off x="1862" y="803"/>
              <a:ext cx="3540" cy="2771"/>
            </a:xfrm>
            <a:custGeom>
              <a:avLst/>
              <a:gdLst>
                <a:gd name="T0" fmla="*/ 2542 w 1890"/>
                <a:gd name="T1" fmla="*/ 2402 h 1478"/>
                <a:gd name="T2" fmla="*/ 2334 w 1890"/>
                <a:gd name="T3" fmla="*/ 2231 h 1478"/>
                <a:gd name="T4" fmla="*/ 2334 w 1890"/>
                <a:gd name="T5" fmla="*/ 2109 h 1478"/>
                <a:gd name="T6" fmla="*/ 2345 w 1890"/>
                <a:gd name="T7" fmla="*/ 1901 h 1478"/>
                <a:gd name="T8" fmla="*/ 2356 w 1890"/>
                <a:gd name="T9" fmla="*/ 1639 h 1478"/>
                <a:gd name="T10" fmla="*/ 2366 w 1890"/>
                <a:gd name="T11" fmla="*/ 1438 h 1478"/>
                <a:gd name="T12" fmla="*/ 2373 w 1890"/>
                <a:gd name="T13" fmla="*/ 1348 h 1478"/>
                <a:gd name="T14" fmla="*/ 2551 w 1890"/>
                <a:gd name="T15" fmla="*/ 1198 h 1478"/>
                <a:gd name="T16" fmla="*/ 2373 w 1890"/>
                <a:gd name="T17" fmla="*/ 459 h 1478"/>
                <a:gd name="T18" fmla="*/ 1976 w 1890"/>
                <a:gd name="T19" fmla="*/ 259 h 1478"/>
                <a:gd name="T20" fmla="*/ 1802 w 1890"/>
                <a:gd name="T21" fmla="*/ 58 h 1478"/>
                <a:gd name="T22" fmla="*/ 1113 w 1890"/>
                <a:gd name="T23" fmla="*/ 0 h 1478"/>
                <a:gd name="T24" fmla="*/ 858 w 1890"/>
                <a:gd name="T25" fmla="*/ 236 h 1478"/>
                <a:gd name="T26" fmla="*/ 573 w 1890"/>
                <a:gd name="T27" fmla="*/ 328 h 1478"/>
                <a:gd name="T28" fmla="*/ 414 w 1890"/>
                <a:gd name="T29" fmla="*/ 489 h 1478"/>
                <a:gd name="T30" fmla="*/ 155 w 1890"/>
                <a:gd name="T31" fmla="*/ 1652 h 1478"/>
                <a:gd name="T32" fmla="*/ 114 w 1890"/>
                <a:gd name="T33" fmla="*/ 2546 h 1478"/>
                <a:gd name="T34" fmla="*/ 588 w 1890"/>
                <a:gd name="T35" fmla="*/ 2495 h 1478"/>
                <a:gd name="T36" fmla="*/ 792 w 1890"/>
                <a:gd name="T37" fmla="*/ 1389 h 1478"/>
                <a:gd name="T38" fmla="*/ 875 w 1890"/>
                <a:gd name="T39" fmla="*/ 1352 h 1478"/>
                <a:gd name="T40" fmla="*/ 779 w 1890"/>
                <a:gd name="T41" fmla="*/ 1980 h 1478"/>
                <a:gd name="T42" fmla="*/ 783 w 1890"/>
                <a:gd name="T43" fmla="*/ 2649 h 1478"/>
                <a:gd name="T44" fmla="*/ 1433 w 1890"/>
                <a:gd name="T45" fmla="*/ 2769 h 1478"/>
                <a:gd name="T46" fmla="*/ 1386 w 1890"/>
                <a:gd name="T47" fmla="*/ 2437 h 1478"/>
                <a:gd name="T48" fmla="*/ 1369 w 1890"/>
                <a:gd name="T49" fmla="*/ 2308 h 1478"/>
                <a:gd name="T50" fmla="*/ 1560 w 1890"/>
                <a:gd name="T51" fmla="*/ 2010 h 1478"/>
                <a:gd name="T52" fmla="*/ 1658 w 1890"/>
                <a:gd name="T53" fmla="*/ 1963 h 1478"/>
                <a:gd name="T54" fmla="*/ 1792 w 1890"/>
                <a:gd name="T55" fmla="*/ 2104 h 1478"/>
                <a:gd name="T56" fmla="*/ 2017 w 1890"/>
                <a:gd name="T57" fmla="*/ 2604 h 1478"/>
                <a:gd name="T58" fmla="*/ 2094 w 1890"/>
                <a:gd name="T59" fmla="*/ 2533 h 1478"/>
                <a:gd name="T60" fmla="*/ 1950 w 1890"/>
                <a:gd name="T61" fmla="*/ 1627 h 1478"/>
                <a:gd name="T62" fmla="*/ 1939 w 1890"/>
                <a:gd name="T63" fmla="*/ 1258 h 1478"/>
                <a:gd name="T64" fmla="*/ 1997 w 1890"/>
                <a:gd name="T65" fmla="*/ 1354 h 1478"/>
                <a:gd name="T66" fmla="*/ 2212 w 1890"/>
                <a:gd name="T67" fmla="*/ 2503 h 1478"/>
                <a:gd name="T68" fmla="*/ 2394 w 1890"/>
                <a:gd name="T69" fmla="*/ 2591 h 1478"/>
                <a:gd name="T70" fmla="*/ 2787 w 1890"/>
                <a:gd name="T71" fmla="*/ 2405 h 1478"/>
                <a:gd name="T72" fmla="*/ 1397 w 1890"/>
                <a:gd name="T73" fmla="*/ 1847 h 1478"/>
                <a:gd name="T74" fmla="*/ 1401 w 1890"/>
                <a:gd name="T75" fmla="*/ 1618 h 1478"/>
                <a:gd name="T76" fmla="*/ 1397 w 1890"/>
                <a:gd name="T77" fmla="*/ 1847 h 1478"/>
                <a:gd name="T78" fmla="*/ 1401 w 1890"/>
                <a:gd name="T79" fmla="*/ 1213 h 1478"/>
                <a:gd name="T80" fmla="*/ 1399 w 1890"/>
                <a:gd name="T81" fmla="*/ 1442 h 1478"/>
                <a:gd name="T82" fmla="*/ 1399 w 1890"/>
                <a:gd name="T83" fmla="*/ 1039 h 1478"/>
                <a:gd name="T84" fmla="*/ 1401 w 1890"/>
                <a:gd name="T85" fmla="*/ 810 h 1478"/>
                <a:gd name="T86" fmla="*/ 1399 w 1890"/>
                <a:gd name="T87" fmla="*/ 1039 h 1478"/>
                <a:gd name="T88" fmla="*/ 1661 w 1890"/>
                <a:gd name="T89" fmla="*/ 418 h 1478"/>
                <a:gd name="T90" fmla="*/ 1468 w 1890"/>
                <a:gd name="T91" fmla="*/ 371 h 1478"/>
                <a:gd name="T92" fmla="*/ 1289 w 1890"/>
                <a:gd name="T93" fmla="*/ 397 h 1478"/>
                <a:gd name="T94" fmla="*/ 1099 w 1890"/>
                <a:gd name="T95" fmla="*/ 373 h 1478"/>
                <a:gd name="T96" fmla="*/ 1150 w 1890"/>
                <a:gd name="T97" fmla="*/ 240 h 1478"/>
                <a:gd name="T98" fmla="*/ 1626 w 1890"/>
                <a:gd name="T99" fmla="*/ 232 h 1478"/>
                <a:gd name="T100" fmla="*/ 1703 w 1890"/>
                <a:gd name="T101" fmla="*/ 306 h 1478"/>
                <a:gd name="T102" fmla="*/ 3540 w 1890"/>
                <a:gd name="T103" fmla="*/ 1436 h 1478"/>
                <a:gd name="T104" fmla="*/ 3356 w 1890"/>
                <a:gd name="T105" fmla="*/ 1442 h 1478"/>
                <a:gd name="T106" fmla="*/ 3293 w 1890"/>
                <a:gd name="T107" fmla="*/ 934 h 1478"/>
                <a:gd name="T108" fmla="*/ 3066 w 1890"/>
                <a:gd name="T109" fmla="*/ 934 h 1478"/>
                <a:gd name="T110" fmla="*/ 2995 w 1890"/>
                <a:gd name="T111" fmla="*/ 1436 h 1478"/>
                <a:gd name="T112" fmla="*/ 2811 w 1890"/>
                <a:gd name="T113" fmla="*/ 1442 h 1478"/>
                <a:gd name="T114" fmla="*/ 2869 w 1890"/>
                <a:gd name="T115" fmla="*/ 1262 h 1478"/>
                <a:gd name="T116" fmla="*/ 3180 w 1890"/>
                <a:gd name="T117" fmla="*/ 802 h 1478"/>
                <a:gd name="T118" fmla="*/ 3493 w 1890"/>
                <a:gd name="T119" fmla="*/ 1262 h 1478"/>
                <a:gd name="T120" fmla="*/ 3540 w 1890"/>
                <a:gd name="T121" fmla="*/ 1436 h 14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90"/>
                <a:gd name="T184" fmla="*/ 0 h 1478"/>
                <a:gd name="T185" fmla="*/ 1890 w 1890"/>
                <a:gd name="T186" fmla="*/ 1478 h 14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90" h="1478">
                  <a:moveTo>
                    <a:pt x="1487" y="1281"/>
                  </a:moveTo>
                  <a:cubicBezTo>
                    <a:pt x="1444" y="1281"/>
                    <a:pt x="1401" y="1281"/>
                    <a:pt x="1357" y="1281"/>
                  </a:cubicBezTo>
                  <a:cubicBezTo>
                    <a:pt x="1344" y="1281"/>
                    <a:pt x="1331" y="1279"/>
                    <a:pt x="1318" y="1276"/>
                  </a:cubicBezTo>
                  <a:cubicBezTo>
                    <a:pt x="1278" y="1267"/>
                    <a:pt x="1249" y="1233"/>
                    <a:pt x="1246" y="1190"/>
                  </a:cubicBezTo>
                  <a:cubicBezTo>
                    <a:pt x="1245" y="1168"/>
                    <a:pt x="1245" y="1148"/>
                    <a:pt x="1246" y="1128"/>
                  </a:cubicBezTo>
                  <a:cubicBezTo>
                    <a:pt x="1246" y="1125"/>
                    <a:pt x="1246" y="1125"/>
                    <a:pt x="1246" y="1125"/>
                  </a:cubicBezTo>
                  <a:cubicBezTo>
                    <a:pt x="1247" y="1099"/>
                    <a:pt x="1249" y="1073"/>
                    <a:pt x="1250" y="1048"/>
                  </a:cubicBezTo>
                  <a:cubicBezTo>
                    <a:pt x="1250" y="1036"/>
                    <a:pt x="1251" y="1025"/>
                    <a:pt x="1252" y="1014"/>
                  </a:cubicBezTo>
                  <a:cubicBezTo>
                    <a:pt x="1253" y="982"/>
                    <a:pt x="1253" y="982"/>
                    <a:pt x="1253" y="982"/>
                  </a:cubicBezTo>
                  <a:cubicBezTo>
                    <a:pt x="1255" y="946"/>
                    <a:pt x="1257" y="910"/>
                    <a:pt x="1258" y="874"/>
                  </a:cubicBezTo>
                  <a:cubicBezTo>
                    <a:pt x="1259" y="858"/>
                    <a:pt x="1260" y="842"/>
                    <a:pt x="1261" y="826"/>
                  </a:cubicBezTo>
                  <a:cubicBezTo>
                    <a:pt x="1262" y="807"/>
                    <a:pt x="1262" y="787"/>
                    <a:pt x="1263" y="767"/>
                  </a:cubicBezTo>
                  <a:cubicBezTo>
                    <a:pt x="1264" y="764"/>
                    <a:pt x="1264" y="761"/>
                    <a:pt x="1264" y="757"/>
                  </a:cubicBezTo>
                  <a:cubicBezTo>
                    <a:pt x="1264" y="745"/>
                    <a:pt x="1265" y="733"/>
                    <a:pt x="1267" y="719"/>
                  </a:cubicBezTo>
                  <a:cubicBezTo>
                    <a:pt x="1273" y="671"/>
                    <a:pt x="1308" y="640"/>
                    <a:pt x="1357" y="639"/>
                  </a:cubicBezTo>
                  <a:cubicBezTo>
                    <a:pt x="1359" y="639"/>
                    <a:pt x="1361" y="639"/>
                    <a:pt x="1362" y="639"/>
                  </a:cubicBezTo>
                  <a:cubicBezTo>
                    <a:pt x="1347" y="563"/>
                    <a:pt x="1332" y="488"/>
                    <a:pt x="1316" y="412"/>
                  </a:cubicBezTo>
                  <a:cubicBezTo>
                    <a:pt x="1304" y="355"/>
                    <a:pt x="1284" y="300"/>
                    <a:pt x="1267" y="245"/>
                  </a:cubicBezTo>
                  <a:cubicBezTo>
                    <a:pt x="1256" y="210"/>
                    <a:pt x="1230" y="188"/>
                    <a:pt x="1195" y="178"/>
                  </a:cubicBezTo>
                  <a:cubicBezTo>
                    <a:pt x="1149" y="165"/>
                    <a:pt x="1102" y="152"/>
                    <a:pt x="1055" y="138"/>
                  </a:cubicBezTo>
                  <a:cubicBezTo>
                    <a:pt x="1048" y="136"/>
                    <a:pt x="1041" y="132"/>
                    <a:pt x="1037" y="126"/>
                  </a:cubicBezTo>
                  <a:cubicBezTo>
                    <a:pt x="1012" y="95"/>
                    <a:pt x="986" y="63"/>
                    <a:pt x="962" y="31"/>
                  </a:cubicBezTo>
                  <a:cubicBezTo>
                    <a:pt x="946" y="10"/>
                    <a:pt x="926" y="0"/>
                    <a:pt x="900" y="0"/>
                  </a:cubicBezTo>
                  <a:cubicBezTo>
                    <a:pt x="798" y="1"/>
                    <a:pt x="696" y="1"/>
                    <a:pt x="594" y="0"/>
                  </a:cubicBezTo>
                  <a:cubicBezTo>
                    <a:pt x="569" y="0"/>
                    <a:pt x="549" y="10"/>
                    <a:pt x="534" y="30"/>
                  </a:cubicBezTo>
                  <a:cubicBezTo>
                    <a:pt x="509" y="62"/>
                    <a:pt x="484" y="94"/>
                    <a:pt x="458" y="126"/>
                  </a:cubicBezTo>
                  <a:cubicBezTo>
                    <a:pt x="454" y="131"/>
                    <a:pt x="446" y="136"/>
                    <a:pt x="439" y="138"/>
                  </a:cubicBezTo>
                  <a:cubicBezTo>
                    <a:pt x="395" y="151"/>
                    <a:pt x="351" y="163"/>
                    <a:pt x="306" y="175"/>
                  </a:cubicBezTo>
                  <a:cubicBezTo>
                    <a:pt x="266" y="185"/>
                    <a:pt x="239" y="210"/>
                    <a:pt x="225" y="249"/>
                  </a:cubicBezTo>
                  <a:cubicBezTo>
                    <a:pt x="224" y="253"/>
                    <a:pt x="222" y="257"/>
                    <a:pt x="221" y="261"/>
                  </a:cubicBezTo>
                  <a:cubicBezTo>
                    <a:pt x="203" y="328"/>
                    <a:pt x="182" y="393"/>
                    <a:pt x="168" y="460"/>
                  </a:cubicBezTo>
                  <a:cubicBezTo>
                    <a:pt x="138" y="600"/>
                    <a:pt x="110" y="741"/>
                    <a:pt x="83" y="881"/>
                  </a:cubicBezTo>
                  <a:cubicBezTo>
                    <a:pt x="57" y="1015"/>
                    <a:pt x="32" y="1149"/>
                    <a:pt x="7" y="1284"/>
                  </a:cubicBezTo>
                  <a:cubicBezTo>
                    <a:pt x="0" y="1322"/>
                    <a:pt x="23" y="1353"/>
                    <a:pt x="61" y="1358"/>
                  </a:cubicBezTo>
                  <a:cubicBezTo>
                    <a:pt x="122" y="1366"/>
                    <a:pt x="182" y="1375"/>
                    <a:pt x="242" y="1383"/>
                  </a:cubicBezTo>
                  <a:cubicBezTo>
                    <a:pt x="279" y="1388"/>
                    <a:pt x="306" y="1368"/>
                    <a:pt x="314" y="1331"/>
                  </a:cubicBezTo>
                  <a:cubicBezTo>
                    <a:pt x="318" y="1307"/>
                    <a:pt x="322" y="1284"/>
                    <a:pt x="327" y="1261"/>
                  </a:cubicBezTo>
                  <a:cubicBezTo>
                    <a:pt x="359" y="1088"/>
                    <a:pt x="391" y="914"/>
                    <a:pt x="423" y="741"/>
                  </a:cubicBezTo>
                  <a:cubicBezTo>
                    <a:pt x="428" y="714"/>
                    <a:pt x="439" y="690"/>
                    <a:pt x="459" y="667"/>
                  </a:cubicBezTo>
                  <a:cubicBezTo>
                    <a:pt x="462" y="687"/>
                    <a:pt x="465" y="704"/>
                    <a:pt x="467" y="721"/>
                  </a:cubicBezTo>
                  <a:cubicBezTo>
                    <a:pt x="469" y="744"/>
                    <a:pt x="473" y="769"/>
                    <a:pt x="469" y="791"/>
                  </a:cubicBezTo>
                  <a:cubicBezTo>
                    <a:pt x="453" y="880"/>
                    <a:pt x="433" y="968"/>
                    <a:pt x="416" y="1056"/>
                  </a:cubicBezTo>
                  <a:cubicBezTo>
                    <a:pt x="396" y="1152"/>
                    <a:pt x="379" y="1248"/>
                    <a:pt x="377" y="1347"/>
                  </a:cubicBezTo>
                  <a:cubicBezTo>
                    <a:pt x="376" y="1378"/>
                    <a:pt x="389" y="1399"/>
                    <a:pt x="418" y="1413"/>
                  </a:cubicBezTo>
                  <a:cubicBezTo>
                    <a:pt x="476" y="1441"/>
                    <a:pt x="538" y="1457"/>
                    <a:pt x="602" y="1466"/>
                  </a:cubicBezTo>
                  <a:cubicBezTo>
                    <a:pt x="656" y="1475"/>
                    <a:pt x="710" y="1478"/>
                    <a:pt x="765" y="1477"/>
                  </a:cubicBezTo>
                  <a:cubicBezTo>
                    <a:pt x="764" y="1466"/>
                    <a:pt x="763" y="1454"/>
                    <a:pt x="762" y="1443"/>
                  </a:cubicBezTo>
                  <a:cubicBezTo>
                    <a:pt x="758" y="1392"/>
                    <a:pt x="749" y="1342"/>
                    <a:pt x="740" y="1300"/>
                  </a:cubicBezTo>
                  <a:cubicBezTo>
                    <a:pt x="739" y="1296"/>
                    <a:pt x="739" y="1296"/>
                    <a:pt x="739" y="1296"/>
                  </a:cubicBezTo>
                  <a:cubicBezTo>
                    <a:pt x="735" y="1277"/>
                    <a:pt x="730" y="1255"/>
                    <a:pt x="731" y="1231"/>
                  </a:cubicBezTo>
                  <a:cubicBezTo>
                    <a:pt x="734" y="1172"/>
                    <a:pt x="758" y="1126"/>
                    <a:pt x="804" y="1093"/>
                  </a:cubicBezTo>
                  <a:cubicBezTo>
                    <a:pt x="814" y="1086"/>
                    <a:pt x="823" y="1079"/>
                    <a:pt x="833" y="1072"/>
                  </a:cubicBezTo>
                  <a:cubicBezTo>
                    <a:pt x="839" y="1068"/>
                    <a:pt x="844" y="1064"/>
                    <a:pt x="850" y="1060"/>
                  </a:cubicBezTo>
                  <a:cubicBezTo>
                    <a:pt x="862" y="1052"/>
                    <a:pt x="873" y="1047"/>
                    <a:pt x="885" y="1047"/>
                  </a:cubicBezTo>
                  <a:cubicBezTo>
                    <a:pt x="897" y="1047"/>
                    <a:pt x="919" y="1052"/>
                    <a:pt x="934" y="1079"/>
                  </a:cubicBezTo>
                  <a:cubicBezTo>
                    <a:pt x="942" y="1093"/>
                    <a:pt x="949" y="1108"/>
                    <a:pt x="957" y="1122"/>
                  </a:cubicBezTo>
                  <a:cubicBezTo>
                    <a:pt x="978" y="1159"/>
                    <a:pt x="999" y="1198"/>
                    <a:pt x="1019" y="1237"/>
                  </a:cubicBezTo>
                  <a:cubicBezTo>
                    <a:pt x="1042" y="1279"/>
                    <a:pt x="1060" y="1326"/>
                    <a:pt x="1077" y="1389"/>
                  </a:cubicBezTo>
                  <a:cubicBezTo>
                    <a:pt x="1079" y="1397"/>
                    <a:pt x="1082" y="1403"/>
                    <a:pt x="1084" y="1409"/>
                  </a:cubicBezTo>
                  <a:cubicBezTo>
                    <a:pt x="1107" y="1396"/>
                    <a:pt x="1120" y="1377"/>
                    <a:pt x="1118" y="1351"/>
                  </a:cubicBezTo>
                  <a:cubicBezTo>
                    <a:pt x="1115" y="1300"/>
                    <a:pt x="1113" y="1249"/>
                    <a:pt x="1105" y="1198"/>
                  </a:cubicBezTo>
                  <a:cubicBezTo>
                    <a:pt x="1085" y="1088"/>
                    <a:pt x="1062" y="978"/>
                    <a:pt x="1041" y="868"/>
                  </a:cubicBezTo>
                  <a:cubicBezTo>
                    <a:pt x="1034" y="828"/>
                    <a:pt x="1020" y="789"/>
                    <a:pt x="1026" y="748"/>
                  </a:cubicBezTo>
                  <a:cubicBezTo>
                    <a:pt x="1030" y="722"/>
                    <a:pt x="1032" y="697"/>
                    <a:pt x="1035" y="671"/>
                  </a:cubicBezTo>
                  <a:cubicBezTo>
                    <a:pt x="1037" y="670"/>
                    <a:pt x="1039" y="670"/>
                    <a:pt x="1041" y="670"/>
                  </a:cubicBezTo>
                  <a:cubicBezTo>
                    <a:pt x="1049" y="687"/>
                    <a:pt x="1062" y="704"/>
                    <a:pt x="1066" y="722"/>
                  </a:cubicBezTo>
                  <a:cubicBezTo>
                    <a:pt x="1091" y="847"/>
                    <a:pt x="1115" y="972"/>
                    <a:pt x="1138" y="1097"/>
                  </a:cubicBezTo>
                  <a:cubicBezTo>
                    <a:pt x="1153" y="1176"/>
                    <a:pt x="1166" y="1255"/>
                    <a:pt x="1181" y="1335"/>
                  </a:cubicBezTo>
                  <a:cubicBezTo>
                    <a:pt x="1186" y="1364"/>
                    <a:pt x="1208" y="1384"/>
                    <a:pt x="1237" y="1386"/>
                  </a:cubicBezTo>
                  <a:cubicBezTo>
                    <a:pt x="1250" y="1387"/>
                    <a:pt x="1264" y="1384"/>
                    <a:pt x="1278" y="1382"/>
                  </a:cubicBezTo>
                  <a:cubicBezTo>
                    <a:pt x="1331" y="1374"/>
                    <a:pt x="1385" y="1367"/>
                    <a:pt x="1438" y="1358"/>
                  </a:cubicBezTo>
                  <a:cubicBezTo>
                    <a:pt x="1475" y="1352"/>
                    <a:pt x="1495" y="1320"/>
                    <a:pt x="1488" y="1283"/>
                  </a:cubicBezTo>
                  <a:cubicBezTo>
                    <a:pt x="1488" y="1282"/>
                    <a:pt x="1487" y="1281"/>
                    <a:pt x="1487" y="1281"/>
                  </a:cubicBezTo>
                  <a:close/>
                  <a:moveTo>
                    <a:pt x="746" y="985"/>
                  </a:moveTo>
                  <a:cubicBezTo>
                    <a:pt x="712" y="985"/>
                    <a:pt x="685" y="957"/>
                    <a:pt x="686" y="923"/>
                  </a:cubicBezTo>
                  <a:cubicBezTo>
                    <a:pt x="686" y="889"/>
                    <a:pt x="714" y="863"/>
                    <a:pt x="748" y="863"/>
                  </a:cubicBezTo>
                  <a:cubicBezTo>
                    <a:pt x="783" y="863"/>
                    <a:pt x="809" y="891"/>
                    <a:pt x="809" y="925"/>
                  </a:cubicBezTo>
                  <a:cubicBezTo>
                    <a:pt x="808" y="959"/>
                    <a:pt x="781" y="985"/>
                    <a:pt x="746" y="985"/>
                  </a:cubicBezTo>
                  <a:close/>
                  <a:moveTo>
                    <a:pt x="686" y="708"/>
                  </a:moveTo>
                  <a:cubicBezTo>
                    <a:pt x="686" y="674"/>
                    <a:pt x="714" y="647"/>
                    <a:pt x="748" y="647"/>
                  </a:cubicBezTo>
                  <a:cubicBezTo>
                    <a:pt x="782" y="648"/>
                    <a:pt x="809" y="675"/>
                    <a:pt x="809" y="709"/>
                  </a:cubicBezTo>
                  <a:cubicBezTo>
                    <a:pt x="808" y="743"/>
                    <a:pt x="781" y="770"/>
                    <a:pt x="747" y="769"/>
                  </a:cubicBezTo>
                  <a:cubicBezTo>
                    <a:pt x="712" y="769"/>
                    <a:pt x="685" y="742"/>
                    <a:pt x="686" y="708"/>
                  </a:cubicBezTo>
                  <a:close/>
                  <a:moveTo>
                    <a:pt x="747" y="554"/>
                  </a:moveTo>
                  <a:cubicBezTo>
                    <a:pt x="713" y="554"/>
                    <a:pt x="686" y="527"/>
                    <a:pt x="686" y="493"/>
                  </a:cubicBezTo>
                  <a:cubicBezTo>
                    <a:pt x="686" y="459"/>
                    <a:pt x="713" y="432"/>
                    <a:pt x="748" y="432"/>
                  </a:cubicBezTo>
                  <a:cubicBezTo>
                    <a:pt x="782" y="432"/>
                    <a:pt x="809" y="459"/>
                    <a:pt x="809" y="493"/>
                  </a:cubicBezTo>
                  <a:cubicBezTo>
                    <a:pt x="809" y="527"/>
                    <a:pt x="782" y="554"/>
                    <a:pt x="747" y="554"/>
                  </a:cubicBezTo>
                  <a:close/>
                  <a:moveTo>
                    <a:pt x="908" y="199"/>
                  </a:moveTo>
                  <a:cubicBezTo>
                    <a:pt x="901" y="207"/>
                    <a:pt x="894" y="215"/>
                    <a:pt x="887" y="223"/>
                  </a:cubicBezTo>
                  <a:cubicBezTo>
                    <a:pt x="876" y="235"/>
                    <a:pt x="864" y="237"/>
                    <a:pt x="850" y="230"/>
                  </a:cubicBezTo>
                  <a:cubicBezTo>
                    <a:pt x="828" y="220"/>
                    <a:pt x="806" y="209"/>
                    <a:pt x="784" y="198"/>
                  </a:cubicBezTo>
                  <a:cubicBezTo>
                    <a:pt x="754" y="182"/>
                    <a:pt x="725" y="185"/>
                    <a:pt x="695" y="208"/>
                  </a:cubicBezTo>
                  <a:cubicBezTo>
                    <a:pt x="693" y="209"/>
                    <a:pt x="691" y="211"/>
                    <a:pt x="688" y="212"/>
                  </a:cubicBezTo>
                  <a:cubicBezTo>
                    <a:pt x="624" y="236"/>
                    <a:pt x="632" y="245"/>
                    <a:pt x="608" y="221"/>
                  </a:cubicBezTo>
                  <a:cubicBezTo>
                    <a:pt x="601" y="214"/>
                    <a:pt x="594" y="207"/>
                    <a:pt x="587" y="199"/>
                  </a:cubicBezTo>
                  <a:cubicBezTo>
                    <a:pt x="578" y="189"/>
                    <a:pt x="578" y="174"/>
                    <a:pt x="586" y="163"/>
                  </a:cubicBezTo>
                  <a:cubicBezTo>
                    <a:pt x="595" y="151"/>
                    <a:pt x="605" y="139"/>
                    <a:pt x="614" y="128"/>
                  </a:cubicBezTo>
                  <a:cubicBezTo>
                    <a:pt x="617" y="125"/>
                    <a:pt x="622" y="124"/>
                    <a:pt x="626" y="124"/>
                  </a:cubicBezTo>
                  <a:cubicBezTo>
                    <a:pt x="707" y="123"/>
                    <a:pt x="787" y="123"/>
                    <a:pt x="868" y="124"/>
                  </a:cubicBezTo>
                  <a:cubicBezTo>
                    <a:pt x="872" y="124"/>
                    <a:pt x="878" y="125"/>
                    <a:pt x="881" y="128"/>
                  </a:cubicBezTo>
                  <a:cubicBezTo>
                    <a:pt x="890" y="140"/>
                    <a:pt x="900" y="151"/>
                    <a:pt x="909" y="163"/>
                  </a:cubicBezTo>
                  <a:cubicBezTo>
                    <a:pt x="917" y="174"/>
                    <a:pt x="917" y="189"/>
                    <a:pt x="908" y="199"/>
                  </a:cubicBezTo>
                  <a:close/>
                  <a:moveTo>
                    <a:pt x="1890" y="766"/>
                  </a:moveTo>
                  <a:cubicBezTo>
                    <a:pt x="1841" y="817"/>
                    <a:pt x="1841" y="817"/>
                    <a:pt x="1841" y="817"/>
                  </a:cubicBezTo>
                  <a:cubicBezTo>
                    <a:pt x="1792" y="769"/>
                    <a:pt x="1792" y="769"/>
                    <a:pt x="1792" y="769"/>
                  </a:cubicBezTo>
                  <a:cubicBezTo>
                    <a:pt x="1821" y="677"/>
                    <a:pt x="1821" y="677"/>
                    <a:pt x="1821" y="677"/>
                  </a:cubicBezTo>
                  <a:cubicBezTo>
                    <a:pt x="1815" y="619"/>
                    <a:pt x="1799" y="539"/>
                    <a:pt x="1758" y="498"/>
                  </a:cubicBezTo>
                  <a:cubicBezTo>
                    <a:pt x="1741" y="481"/>
                    <a:pt x="1721" y="472"/>
                    <a:pt x="1698" y="472"/>
                  </a:cubicBezTo>
                  <a:cubicBezTo>
                    <a:pt x="1674" y="472"/>
                    <a:pt x="1654" y="480"/>
                    <a:pt x="1637" y="498"/>
                  </a:cubicBezTo>
                  <a:cubicBezTo>
                    <a:pt x="1597" y="539"/>
                    <a:pt x="1582" y="619"/>
                    <a:pt x="1576" y="678"/>
                  </a:cubicBezTo>
                  <a:cubicBezTo>
                    <a:pt x="1599" y="766"/>
                    <a:pt x="1599" y="766"/>
                    <a:pt x="1599" y="766"/>
                  </a:cubicBezTo>
                  <a:cubicBezTo>
                    <a:pt x="1551" y="817"/>
                    <a:pt x="1551" y="817"/>
                    <a:pt x="1551" y="817"/>
                  </a:cubicBezTo>
                  <a:cubicBezTo>
                    <a:pt x="1501" y="769"/>
                    <a:pt x="1501" y="769"/>
                    <a:pt x="1501" y="769"/>
                  </a:cubicBezTo>
                  <a:cubicBezTo>
                    <a:pt x="1532" y="673"/>
                    <a:pt x="1532" y="673"/>
                    <a:pt x="1532" y="673"/>
                  </a:cubicBezTo>
                  <a:cubicBezTo>
                    <a:pt x="1532" y="673"/>
                    <a:pt x="1532" y="673"/>
                    <a:pt x="1532" y="673"/>
                  </a:cubicBezTo>
                  <a:cubicBezTo>
                    <a:pt x="1539" y="608"/>
                    <a:pt x="1557" y="518"/>
                    <a:pt x="1606" y="467"/>
                  </a:cubicBezTo>
                  <a:cubicBezTo>
                    <a:pt x="1631" y="441"/>
                    <a:pt x="1662" y="428"/>
                    <a:pt x="1698" y="428"/>
                  </a:cubicBezTo>
                  <a:cubicBezTo>
                    <a:pt x="1733" y="428"/>
                    <a:pt x="1764" y="441"/>
                    <a:pt x="1790" y="467"/>
                  </a:cubicBezTo>
                  <a:cubicBezTo>
                    <a:pt x="1839" y="518"/>
                    <a:pt x="1858" y="608"/>
                    <a:pt x="1865" y="673"/>
                  </a:cubicBezTo>
                  <a:cubicBezTo>
                    <a:pt x="1866" y="673"/>
                    <a:pt x="1866" y="673"/>
                    <a:pt x="1866" y="673"/>
                  </a:cubicBezTo>
                  <a:lnTo>
                    <a:pt x="1890" y="766"/>
                  </a:lnTo>
                  <a:close/>
                </a:path>
              </a:pathLst>
            </a:custGeom>
            <a:solidFill>
              <a:srgbClr val="98A6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74802" name="Group 99"/>
          <p:cNvGrpSpPr>
            <a:grpSpLocks noChangeAspect="1"/>
          </p:cNvGrpSpPr>
          <p:nvPr/>
        </p:nvGrpSpPr>
        <p:grpSpPr bwMode="auto">
          <a:xfrm>
            <a:off x="9877425" y="1181100"/>
            <a:ext cx="1141413" cy="1139825"/>
            <a:chOff x="5272883" y="2606041"/>
            <a:chExt cx="1646234" cy="1646231"/>
          </a:xfrm>
        </p:grpSpPr>
        <p:sp>
          <p:nvSpPr>
            <p:cNvPr id="74804" name="AutoShape 121"/>
            <p:cNvSpPr>
              <a:spLocks noChangeAspect="1" noChangeArrowheads="1" noTextEdit="1"/>
            </p:cNvSpPr>
            <p:nvPr/>
          </p:nvSpPr>
          <p:spPr bwMode="auto">
            <a:xfrm>
              <a:off x="5272883" y="2606041"/>
              <a:ext cx="1646234" cy="1646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74805" name="Rectangle 101"/>
            <p:cNvSpPr>
              <a:spLocks noChangeArrowheads="1"/>
            </p:cNvSpPr>
            <p:nvPr/>
          </p:nvSpPr>
          <p:spPr bwMode="auto">
            <a:xfrm>
              <a:off x="5272883" y="2606041"/>
              <a:ext cx="1646234" cy="1646231"/>
            </a:xfrm>
            <a:prstGeom prst="rect">
              <a:avLst/>
            </a:prstGeom>
            <a:noFill/>
            <a:ln w="0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>
                <a:latin typeface="PT Sans Caption"/>
                <a:sym typeface="PT Sans Caption"/>
              </a:endParaRPr>
            </a:p>
          </p:txBody>
        </p:sp>
        <p:grpSp>
          <p:nvGrpSpPr>
            <p:cNvPr id="74806" name="Group 102"/>
            <p:cNvGrpSpPr>
              <a:grpSpLocks/>
            </p:cNvGrpSpPr>
            <p:nvPr/>
          </p:nvGrpSpPr>
          <p:grpSpPr bwMode="auto">
            <a:xfrm>
              <a:off x="5374958" y="2863038"/>
              <a:ext cx="1442084" cy="1132236"/>
              <a:chOff x="5374958" y="2863038"/>
              <a:chExt cx="1442084" cy="1132236"/>
            </a:xfrm>
          </p:grpSpPr>
          <p:sp>
            <p:nvSpPr>
              <p:cNvPr id="74807" name="Freeform 103"/>
              <p:cNvSpPr>
                <a:spLocks noEditPoints="1"/>
              </p:cNvSpPr>
              <p:nvPr/>
            </p:nvSpPr>
            <p:spPr bwMode="auto">
              <a:xfrm>
                <a:off x="5374958" y="2863038"/>
                <a:ext cx="1442084" cy="1132236"/>
              </a:xfrm>
              <a:custGeom>
                <a:avLst/>
                <a:gdLst>
                  <a:gd name="T0" fmla="*/ 849968 w 3982"/>
                  <a:gd name="T1" fmla="*/ 836870 h 3128"/>
                  <a:gd name="T2" fmla="*/ 1063274 w 3982"/>
                  <a:gd name="T3" fmla="*/ 873791 h 3128"/>
                  <a:gd name="T4" fmla="*/ 1019454 w 3982"/>
                  <a:gd name="T5" fmla="*/ 810447 h 3128"/>
                  <a:gd name="T6" fmla="*/ 457034 w 3982"/>
                  <a:gd name="T7" fmla="*/ 810447 h 3128"/>
                  <a:gd name="T8" fmla="*/ 228517 w 3982"/>
                  <a:gd name="T9" fmla="*/ 510737 h 3128"/>
                  <a:gd name="T10" fmla="*/ 434219 w 3982"/>
                  <a:gd name="T11" fmla="*/ 570462 h 3128"/>
                  <a:gd name="T12" fmla="*/ 553004 w 3982"/>
                  <a:gd name="T13" fmla="*/ 478884 h 3128"/>
                  <a:gd name="T14" fmla="*/ 533448 w 3982"/>
                  <a:gd name="T15" fmla="*/ 338802 h 3128"/>
                  <a:gd name="T16" fmla="*/ 588133 w 3982"/>
                  <a:gd name="T17" fmla="*/ 478884 h 3128"/>
                  <a:gd name="T18" fmla="*/ 440013 w 3982"/>
                  <a:gd name="T19" fmla="*/ 601591 h 3128"/>
                  <a:gd name="T20" fmla="*/ 370118 w 3982"/>
                  <a:gd name="T21" fmla="*/ 711629 h 3128"/>
                  <a:gd name="T22" fmla="*/ 513892 w 3982"/>
                  <a:gd name="T23" fmla="*/ 787281 h 3128"/>
                  <a:gd name="T24" fmla="*/ 663822 w 3982"/>
                  <a:gd name="T25" fmla="*/ 809723 h 3128"/>
                  <a:gd name="T26" fmla="*/ 1056394 w 3982"/>
                  <a:gd name="T27" fmla="*/ 800673 h 3128"/>
                  <a:gd name="T28" fmla="*/ 1148742 w 3982"/>
                  <a:gd name="T29" fmla="*/ 857502 h 3128"/>
                  <a:gd name="T30" fmla="*/ 1278392 w 3982"/>
                  <a:gd name="T31" fmla="*/ 852797 h 3128"/>
                  <a:gd name="T32" fmla="*/ 1260647 w 3982"/>
                  <a:gd name="T33" fmla="*/ 423865 h 3128"/>
                  <a:gd name="T34" fmla="*/ 533448 w 3982"/>
                  <a:gd name="T35" fmla="*/ 338802 h 3128"/>
                  <a:gd name="T36" fmla="*/ 262197 w 3982"/>
                  <a:gd name="T37" fmla="*/ 184604 h 3128"/>
                  <a:gd name="T38" fmla="*/ 330644 w 3982"/>
                  <a:gd name="T39" fmla="*/ 265323 h 3128"/>
                  <a:gd name="T40" fmla="*/ 283926 w 3982"/>
                  <a:gd name="T41" fmla="*/ 410472 h 3128"/>
                  <a:gd name="T42" fmla="*/ 468623 w 3982"/>
                  <a:gd name="T43" fmla="*/ 306587 h 3128"/>
                  <a:gd name="T44" fmla="*/ 503027 w 3982"/>
                  <a:gd name="T45" fmla="*/ 241795 h 3128"/>
                  <a:gd name="T46" fmla="*/ 621088 w 3982"/>
                  <a:gd name="T47" fmla="*/ 144425 h 3128"/>
                  <a:gd name="T48" fmla="*/ 566766 w 3982"/>
                  <a:gd name="T49" fmla="*/ 230936 h 3128"/>
                  <a:gd name="T50" fmla="*/ 714885 w 3982"/>
                  <a:gd name="T51" fmla="*/ 245776 h 3128"/>
                  <a:gd name="T52" fmla="*/ 744582 w 3982"/>
                  <a:gd name="T53" fmla="*/ 190395 h 3128"/>
                  <a:gd name="T54" fmla="*/ 98505 w 3982"/>
                  <a:gd name="T55" fmla="*/ 151665 h 3128"/>
                  <a:gd name="T56" fmla="*/ 32231 w 3982"/>
                  <a:gd name="T57" fmla="*/ 211027 h 3128"/>
                  <a:gd name="T58" fmla="*/ 168038 w 3982"/>
                  <a:gd name="T59" fmla="*/ 267856 h 3128"/>
                  <a:gd name="T60" fmla="*/ 211858 w 3982"/>
                  <a:gd name="T61" fmla="*/ 175193 h 3128"/>
                  <a:gd name="T62" fmla="*/ 239019 w 3982"/>
                  <a:gd name="T63" fmla="*/ 31853 h 3128"/>
                  <a:gd name="T64" fmla="*/ 362513 w 3982"/>
                  <a:gd name="T65" fmla="*/ 134652 h 3128"/>
                  <a:gd name="T66" fmla="*/ 507373 w 3982"/>
                  <a:gd name="T67" fmla="*/ 89044 h 3128"/>
                  <a:gd name="T68" fmla="*/ 574733 w 3982"/>
                  <a:gd name="T69" fmla="*/ 11221 h 3128"/>
                  <a:gd name="T70" fmla="*/ 543950 w 3982"/>
                  <a:gd name="T71" fmla="*/ 162524 h 3128"/>
                  <a:gd name="T72" fmla="*/ 735166 w 3982"/>
                  <a:gd name="T73" fmla="*/ 142253 h 3128"/>
                  <a:gd name="T74" fmla="*/ 759792 w 3982"/>
                  <a:gd name="T75" fmla="*/ 251930 h 3128"/>
                  <a:gd name="T76" fmla="*/ 573647 w 3982"/>
                  <a:gd name="T77" fmla="*/ 281249 h 3128"/>
                  <a:gd name="T78" fmla="*/ 1276219 w 3982"/>
                  <a:gd name="T79" fmla="*/ 311654 h 3128"/>
                  <a:gd name="T80" fmla="*/ 1391021 w 3982"/>
                  <a:gd name="T81" fmla="*/ 363054 h 3128"/>
                  <a:gd name="T82" fmla="*/ 1430857 w 3982"/>
                  <a:gd name="T83" fmla="*/ 549106 h 3128"/>
                  <a:gd name="T84" fmla="*/ 1410215 w 3982"/>
                  <a:gd name="T85" fmla="*/ 696426 h 3128"/>
                  <a:gd name="T86" fmla="*/ 1379432 w 3982"/>
                  <a:gd name="T87" fmla="*/ 620413 h 3128"/>
                  <a:gd name="T88" fmla="*/ 1405869 w 3982"/>
                  <a:gd name="T89" fmla="*/ 437981 h 3128"/>
                  <a:gd name="T90" fmla="*/ 1300845 w 3982"/>
                  <a:gd name="T91" fmla="*/ 348213 h 3128"/>
                  <a:gd name="T92" fmla="*/ 1293602 w 3982"/>
                  <a:gd name="T93" fmla="*/ 419883 h 3128"/>
                  <a:gd name="T94" fmla="*/ 1308450 w 3982"/>
                  <a:gd name="T95" fmla="*/ 864380 h 3128"/>
                  <a:gd name="T96" fmla="*/ 1020541 w 3982"/>
                  <a:gd name="T97" fmla="*/ 1109432 h 3128"/>
                  <a:gd name="T98" fmla="*/ 925295 w 3982"/>
                  <a:gd name="T99" fmla="*/ 965731 h 3128"/>
                  <a:gd name="T100" fmla="*/ 838379 w 3982"/>
                  <a:gd name="T101" fmla="*/ 917227 h 3128"/>
                  <a:gd name="T102" fmla="*/ 803250 w 3982"/>
                  <a:gd name="T103" fmla="*/ 816600 h 3128"/>
                  <a:gd name="T104" fmla="*/ 640645 w 3982"/>
                  <a:gd name="T105" fmla="*/ 1130788 h 3128"/>
                  <a:gd name="T106" fmla="*/ 355270 w 3982"/>
                  <a:gd name="T107" fmla="*/ 745292 h 3128"/>
                  <a:gd name="T108" fmla="*/ 273786 w 3982"/>
                  <a:gd name="T109" fmla="*/ 583492 h 3128"/>
                  <a:gd name="T110" fmla="*/ 206064 w 3982"/>
                  <a:gd name="T111" fmla="*/ 454270 h 3128"/>
                  <a:gd name="T112" fmla="*/ 196648 w 3982"/>
                  <a:gd name="T113" fmla="*/ 290298 h 3128"/>
                  <a:gd name="T114" fmla="*/ 14848 w 3982"/>
                  <a:gd name="T115" fmla="*/ 240347 h 3128"/>
                  <a:gd name="T116" fmla="*/ 66274 w 3982"/>
                  <a:gd name="T117" fmla="*/ 132480 h 3128"/>
                  <a:gd name="T118" fmla="*/ 243003 w 3982"/>
                  <a:gd name="T119" fmla="*/ 158904 h 3128"/>
                  <a:gd name="T120" fmla="*/ 214031 w 3982"/>
                  <a:gd name="T121" fmla="*/ 0 h 312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3982"/>
                  <a:gd name="T184" fmla="*/ 0 h 3128"/>
                  <a:gd name="T185" fmla="*/ 3982 w 3982"/>
                  <a:gd name="T186" fmla="*/ 3128 h 312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3982" h="3128">
                    <a:moveTo>
                      <a:pt x="3071" y="2428"/>
                    </a:moveTo>
                    <a:lnTo>
                      <a:pt x="3034" y="2457"/>
                    </a:lnTo>
                    <a:lnTo>
                      <a:pt x="2993" y="2482"/>
                    </a:lnTo>
                    <a:lnTo>
                      <a:pt x="2949" y="2504"/>
                    </a:lnTo>
                    <a:lnTo>
                      <a:pt x="2902" y="2522"/>
                    </a:lnTo>
                    <a:lnTo>
                      <a:pt x="2902" y="3041"/>
                    </a:lnTo>
                    <a:lnTo>
                      <a:pt x="3120" y="3041"/>
                    </a:lnTo>
                    <a:lnTo>
                      <a:pt x="3120" y="2445"/>
                    </a:lnTo>
                    <a:lnTo>
                      <a:pt x="3071" y="2428"/>
                    </a:lnTo>
                    <a:close/>
                    <a:moveTo>
                      <a:pt x="2305" y="2239"/>
                    </a:moveTo>
                    <a:lnTo>
                      <a:pt x="2322" y="2278"/>
                    </a:lnTo>
                    <a:lnTo>
                      <a:pt x="2347" y="2312"/>
                    </a:lnTo>
                    <a:lnTo>
                      <a:pt x="2376" y="2345"/>
                    </a:lnTo>
                    <a:lnTo>
                      <a:pt x="2411" y="2376"/>
                    </a:lnTo>
                    <a:lnTo>
                      <a:pt x="2451" y="2401"/>
                    </a:lnTo>
                    <a:lnTo>
                      <a:pt x="2495" y="2423"/>
                    </a:lnTo>
                    <a:lnTo>
                      <a:pt x="2544" y="2441"/>
                    </a:lnTo>
                    <a:lnTo>
                      <a:pt x="2596" y="2454"/>
                    </a:lnTo>
                    <a:lnTo>
                      <a:pt x="2650" y="2463"/>
                    </a:lnTo>
                    <a:lnTo>
                      <a:pt x="2705" y="2465"/>
                    </a:lnTo>
                    <a:lnTo>
                      <a:pt x="2767" y="2461"/>
                    </a:lnTo>
                    <a:lnTo>
                      <a:pt x="2826" y="2452"/>
                    </a:lnTo>
                    <a:lnTo>
                      <a:pt x="2883" y="2436"/>
                    </a:lnTo>
                    <a:lnTo>
                      <a:pt x="2936" y="2414"/>
                    </a:lnTo>
                    <a:lnTo>
                      <a:pt x="2983" y="2387"/>
                    </a:lnTo>
                    <a:lnTo>
                      <a:pt x="2949" y="2363"/>
                    </a:lnTo>
                    <a:lnTo>
                      <a:pt x="2920" y="2341"/>
                    </a:lnTo>
                    <a:lnTo>
                      <a:pt x="2896" y="2321"/>
                    </a:lnTo>
                    <a:lnTo>
                      <a:pt x="2877" y="2300"/>
                    </a:lnTo>
                    <a:lnTo>
                      <a:pt x="2862" y="2283"/>
                    </a:lnTo>
                    <a:lnTo>
                      <a:pt x="2851" y="2270"/>
                    </a:lnTo>
                    <a:lnTo>
                      <a:pt x="2844" y="2260"/>
                    </a:lnTo>
                    <a:lnTo>
                      <a:pt x="2841" y="2256"/>
                    </a:lnTo>
                    <a:lnTo>
                      <a:pt x="2834" y="2249"/>
                    </a:lnTo>
                    <a:lnTo>
                      <a:pt x="2825" y="2242"/>
                    </a:lnTo>
                    <a:lnTo>
                      <a:pt x="2815" y="2239"/>
                    </a:lnTo>
                    <a:lnTo>
                      <a:pt x="2305" y="2239"/>
                    </a:lnTo>
                    <a:close/>
                    <a:moveTo>
                      <a:pt x="1214" y="2224"/>
                    </a:moveTo>
                    <a:lnTo>
                      <a:pt x="1269" y="3035"/>
                    </a:lnTo>
                    <a:lnTo>
                      <a:pt x="1270" y="3036"/>
                    </a:lnTo>
                    <a:lnTo>
                      <a:pt x="1272" y="3036"/>
                    </a:lnTo>
                    <a:lnTo>
                      <a:pt x="1273" y="3037"/>
                    </a:lnTo>
                    <a:lnTo>
                      <a:pt x="1496" y="3037"/>
                    </a:lnTo>
                    <a:lnTo>
                      <a:pt x="1415" y="2260"/>
                    </a:lnTo>
                    <a:lnTo>
                      <a:pt x="1385" y="2259"/>
                    </a:lnTo>
                    <a:lnTo>
                      <a:pt x="1347" y="2256"/>
                    </a:lnTo>
                    <a:lnTo>
                      <a:pt x="1306" y="2249"/>
                    </a:lnTo>
                    <a:lnTo>
                      <a:pt x="1262" y="2239"/>
                    </a:lnTo>
                    <a:lnTo>
                      <a:pt x="1214" y="2224"/>
                    </a:lnTo>
                    <a:close/>
                    <a:moveTo>
                      <a:pt x="771" y="1221"/>
                    </a:moveTo>
                    <a:lnTo>
                      <a:pt x="767" y="1225"/>
                    </a:lnTo>
                    <a:lnTo>
                      <a:pt x="731" y="1246"/>
                    </a:lnTo>
                    <a:lnTo>
                      <a:pt x="702" y="1262"/>
                    </a:lnTo>
                    <a:lnTo>
                      <a:pt x="675" y="1280"/>
                    </a:lnTo>
                    <a:lnTo>
                      <a:pt x="651" y="1297"/>
                    </a:lnTo>
                    <a:lnTo>
                      <a:pt x="632" y="1315"/>
                    </a:lnTo>
                    <a:lnTo>
                      <a:pt x="618" y="1332"/>
                    </a:lnTo>
                    <a:lnTo>
                      <a:pt x="614" y="1350"/>
                    </a:lnTo>
                    <a:lnTo>
                      <a:pt x="618" y="1382"/>
                    </a:lnTo>
                    <a:lnTo>
                      <a:pt x="631" y="1411"/>
                    </a:lnTo>
                    <a:lnTo>
                      <a:pt x="651" y="1440"/>
                    </a:lnTo>
                    <a:lnTo>
                      <a:pt x="679" y="1468"/>
                    </a:lnTo>
                    <a:lnTo>
                      <a:pt x="712" y="1492"/>
                    </a:lnTo>
                    <a:lnTo>
                      <a:pt x="752" y="1514"/>
                    </a:lnTo>
                    <a:lnTo>
                      <a:pt x="796" y="1535"/>
                    </a:lnTo>
                    <a:lnTo>
                      <a:pt x="846" y="1552"/>
                    </a:lnTo>
                    <a:lnTo>
                      <a:pt x="899" y="1565"/>
                    </a:lnTo>
                    <a:lnTo>
                      <a:pt x="956" y="1576"/>
                    </a:lnTo>
                    <a:lnTo>
                      <a:pt x="1015" y="1582"/>
                    </a:lnTo>
                    <a:lnTo>
                      <a:pt x="1077" y="1585"/>
                    </a:lnTo>
                    <a:lnTo>
                      <a:pt x="1139" y="1582"/>
                    </a:lnTo>
                    <a:lnTo>
                      <a:pt x="1199" y="1576"/>
                    </a:lnTo>
                    <a:lnTo>
                      <a:pt x="1256" y="1565"/>
                    </a:lnTo>
                    <a:lnTo>
                      <a:pt x="1309" y="1552"/>
                    </a:lnTo>
                    <a:lnTo>
                      <a:pt x="1358" y="1535"/>
                    </a:lnTo>
                    <a:lnTo>
                      <a:pt x="1404" y="1514"/>
                    </a:lnTo>
                    <a:lnTo>
                      <a:pt x="1442" y="1492"/>
                    </a:lnTo>
                    <a:lnTo>
                      <a:pt x="1477" y="1468"/>
                    </a:lnTo>
                    <a:lnTo>
                      <a:pt x="1503" y="1440"/>
                    </a:lnTo>
                    <a:lnTo>
                      <a:pt x="1524" y="1411"/>
                    </a:lnTo>
                    <a:lnTo>
                      <a:pt x="1536" y="1382"/>
                    </a:lnTo>
                    <a:lnTo>
                      <a:pt x="1540" y="1350"/>
                    </a:lnTo>
                    <a:lnTo>
                      <a:pt x="1538" y="1337"/>
                    </a:lnTo>
                    <a:lnTo>
                      <a:pt x="1527" y="1323"/>
                    </a:lnTo>
                    <a:lnTo>
                      <a:pt x="1510" y="1310"/>
                    </a:lnTo>
                    <a:lnTo>
                      <a:pt x="1489" y="1297"/>
                    </a:lnTo>
                    <a:lnTo>
                      <a:pt x="1466" y="1284"/>
                    </a:lnTo>
                    <a:lnTo>
                      <a:pt x="1441" y="1272"/>
                    </a:lnTo>
                    <a:lnTo>
                      <a:pt x="1415" y="1261"/>
                    </a:lnTo>
                    <a:lnTo>
                      <a:pt x="1379" y="1243"/>
                    </a:lnTo>
                    <a:lnTo>
                      <a:pt x="1345" y="1225"/>
                    </a:lnTo>
                    <a:lnTo>
                      <a:pt x="1340" y="1224"/>
                    </a:lnTo>
                    <a:lnTo>
                      <a:pt x="788" y="1224"/>
                    </a:lnTo>
                    <a:lnTo>
                      <a:pt x="780" y="1222"/>
                    </a:lnTo>
                    <a:lnTo>
                      <a:pt x="771" y="1221"/>
                    </a:lnTo>
                    <a:close/>
                    <a:moveTo>
                      <a:pt x="1473" y="936"/>
                    </a:moveTo>
                    <a:lnTo>
                      <a:pt x="1441" y="1144"/>
                    </a:lnTo>
                    <a:lnTo>
                      <a:pt x="1438" y="1159"/>
                    </a:lnTo>
                    <a:lnTo>
                      <a:pt x="1431" y="1173"/>
                    </a:lnTo>
                    <a:lnTo>
                      <a:pt x="1452" y="1181"/>
                    </a:lnTo>
                    <a:lnTo>
                      <a:pt x="1481" y="1195"/>
                    </a:lnTo>
                    <a:lnTo>
                      <a:pt x="1509" y="1208"/>
                    </a:lnTo>
                    <a:lnTo>
                      <a:pt x="1536" y="1224"/>
                    </a:lnTo>
                    <a:lnTo>
                      <a:pt x="1561" y="1240"/>
                    </a:lnTo>
                    <a:lnTo>
                      <a:pt x="1583" y="1257"/>
                    </a:lnTo>
                    <a:lnTo>
                      <a:pt x="1601" y="1277"/>
                    </a:lnTo>
                    <a:lnTo>
                      <a:pt x="1616" y="1298"/>
                    </a:lnTo>
                    <a:lnTo>
                      <a:pt x="1624" y="1323"/>
                    </a:lnTo>
                    <a:lnTo>
                      <a:pt x="1627" y="1350"/>
                    </a:lnTo>
                    <a:lnTo>
                      <a:pt x="1623" y="1390"/>
                    </a:lnTo>
                    <a:lnTo>
                      <a:pt x="1611" y="1430"/>
                    </a:lnTo>
                    <a:lnTo>
                      <a:pt x="1591" y="1468"/>
                    </a:lnTo>
                    <a:lnTo>
                      <a:pt x="1564" y="1502"/>
                    </a:lnTo>
                    <a:lnTo>
                      <a:pt x="1531" y="1535"/>
                    </a:lnTo>
                    <a:lnTo>
                      <a:pt x="1491" y="1564"/>
                    </a:lnTo>
                    <a:lnTo>
                      <a:pt x="1445" y="1592"/>
                    </a:lnTo>
                    <a:lnTo>
                      <a:pt x="1394" y="1615"/>
                    </a:lnTo>
                    <a:lnTo>
                      <a:pt x="1338" y="1634"/>
                    </a:lnTo>
                    <a:lnTo>
                      <a:pt x="1278" y="1649"/>
                    </a:lnTo>
                    <a:lnTo>
                      <a:pt x="1215" y="1662"/>
                    </a:lnTo>
                    <a:lnTo>
                      <a:pt x="1148" y="1669"/>
                    </a:lnTo>
                    <a:lnTo>
                      <a:pt x="1077" y="1671"/>
                    </a:lnTo>
                    <a:lnTo>
                      <a:pt x="1015" y="1669"/>
                    </a:lnTo>
                    <a:lnTo>
                      <a:pt x="956" y="1663"/>
                    </a:lnTo>
                    <a:lnTo>
                      <a:pt x="956" y="1694"/>
                    </a:lnTo>
                    <a:lnTo>
                      <a:pt x="956" y="1727"/>
                    </a:lnTo>
                    <a:lnTo>
                      <a:pt x="959" y="1764"/>
                    </a:lnTo>
                    <a:lnTo>
                      <a:pt x="964" y="1802"/>
                    </a:lnTo>
                    <a:lnTo>
                      <a:pt x="973" y="1844"/>
                    </a:lnTo>
                    <a:lnTo>
                      <a:pt x="985" y="1885"/>
                    </a:lnTo>
                    <a:lnTo>
                      <a:pt x="1001" y="1926"/>
                    </a:lnTo>
                    <a:lnTo>
                      <a:pt x="1022" y="1966"/>
                    </a:lnTo>
                    <a:lnTo>
                      <a:pt x="1048" y="2004"/>
                    </a:lnTo>
                    <a:lnTo>
                      <a:pt x="1080" y="2039"/>
                    </a:lnTo>
                    <a:lnTo>
                      <a:pt x="1113" y="2070"/>
                    </a:lnTo>
                    <a:lnTo>
                      <a:pt x="1148" y="2095"/>
                    </a:lnTo>
                    <a:lnTo>
                      <a:pt x="1182" y="2115"/>
                    </a:lnTo>
                    <a:lnTo>
                      <a:pt x="1189" y="2118"/>
                    </a:lnTo>
                    <a:lnTo>
                      <a:pt x="1234" y="2139"/>
                    </a:lnTo>
                    <a:lnTo>
                      <a:pt x="1278" y="2154"/>
                    </a:lnTo>
                    <a:lnTo>
                      <a:pt x="1320" y="2164"/>
                    </a:lnTo>
                    <a:lnTo>
                      <a:pt x="1358" y="2170"/>
                    </a:lnTo>
                    <a:lnTo>
                      <a:pt x="1391" y="2173"/>
                    </a:lnTo>
                    <a:lnTo>
                      <a:pt x="1419" y="2175"/>
                    </a:lnTo>
                    <a:lnTo>
                      <a:pt x="1440" y="2173"/>
                    </a:lnTo>
                    <a:lnTo>
                      <a:pt x="1451" y="2173"/>
                    </a:lnTo>
                    <a:lnTo>
                      <a:pt x="1467" y="2175"/>
                    </a:lnTo>
                    <a:lnTo>
                      <a:pt x="1482" y="2183"/>
                    </a:lnTo>
                    <a:lnTo>
                      <a:pt x="1492" y="2195"/>
                    </a:lnTo>
                    <a:lnTo>
                      <a:pt x="1498" y="2212"/>
                    </a:lnTo>
                    <a:lnTo>
                      <a:pt x="1584" y="3037"/>
                    </a:lnTo>
                    <a:lnTo>
                      <a:pt x="1769" y="3037"/>
                    </a:lnTo>
                    <a:lnTo>
                      <a:pt x="1770" y="3036"/>
                    </a:lnTo>
                    <a:lnTo>
                      <a:pt x="1772" y="3036"/>
                    </a:lnTo>
                    <a:lnTo>
                      <a:pt x="1773" y="3035"/>
                    </a:lnTo>
                    <a:lnTo>
                      <a:pt x="1833" y="2237"/>
                    </a:lnTo>
                    <a:lnTo>
                      <a:pt x="1837" y="2215"/>
                    </a:lnTo>
                    <a:lnTo>
                      <a:pt x="1846" y="2194"/>
                    </a:lnTo>
                    <a:lnTo>
                      <a:pt x="1861" y="2177"/>
                    </a:lnTo>
                    <a:lnTo>
                      <a:pt x="1879" y="2164"/>
                    </a:lnTo>
                    <a:lnTo>
                      <a:pt x="1900" y="2155"/>
                    </a:lnTo>
                    <a:lnTo>
                      <a:pt x="1922" y="2152"/>
                    </a:lnTo>
                    <a:lnTo>
                      <a:pt x="2815" y="2152"/>
                    </a:lnTo>
                    <a:lnTo>
                      <a:pt x="2839" y="2155"/>
                    </a:lnTo>
                    <a:lnTo>
                      <a:pt x="2862" y="2164"/>
                    </a:lnTo>
                    <a:lnTo>
                      <a:pt x="2884" y="2176"/>
                    </a:lnTo>
                    <a:lnTo>
                      <a:pt x="2903" y="2192"/>
                    </a:lnTo>
                    <a:lnTo>
                      <a:pt x="2917" y="2212"/>
                    </a:lnTo>
                    <a:lnTo>
                      <a:pt x="2920" y="2216"/>
                    </a:lnTo>
                    <a:lnTo>
                      <a:pt x="2927" y="2226"/>
                    </a:lnTo>
                    <a:lnTo>
                      <a:pt x="2938" y="2239"/>
                    </a:lnTo>
                    <a:lnTo>
                      <a:pt x="2953" y="2256"/>
                    </a:lnTo>
                    <a:lnTo>
                      <a:pt x="2975" y="2274"/>
                    </a:lnTo>
                    <a:lnTo>
                      <a:pt x="3001" y="2294"/>
                    </a:lnTo>
                    <a:lnTo>
                      <a:pt x="3033" y="2315"/>
                    </a:lnTo>
                    <a:lnTo>
                      <a:pt x="3070" y="2334"/>
                    </a:lnTo>
                    <a:lnTo>
                      <a:pt x="3083" y="2337"/>
                    </a:lnTo>
                    <a:lnTo>
                      <a:pt x="3092" y="2344"/>
                    </a:lnTo>
                    <a:lnTo>
                      <a:pt x="3131" y="2358"/>
                    </a:lnTo>
                    <a:lnTo>
                      <a:pt x="3172" y="2369"/>
                    </a:lnTo>
                    <a:lnTo>
                      <a:pt x="3186" y="2374"/>
                    </a:lnTo>
                    <a:lnTo>
                      <a:pt x="3197" y="2384"/>
                    </a:lnTo>
                    <a:lnTo>
                      <a:pt x="3204" y="2396"/>
                    </a:lnTo>
                    <a:lnTo>
                      <a:pt x="3207" y="2412"/>
                    </a:lnTo>
                    <a:lnTo>
                      <a:pt x="3207" y="3041"/>
                    </a:lnTo>
                    <a:lnTo>
                      <a:pt x="3409" y="3041"/>
                    </a:lnTo>
                    <a:lnTo>
                      <a:pt x="3412" y="3041"/>
                    </a:lnTo>
                    <a:lnTo>
                      <a:pt x="3413" y="3040"/>
                    </a:lnTo>
                    <a:lnTo>
                      <a:pt x="3416" y="3037"/>
                    </a:lnTo>
                    <a:lnTo>
                      <a:pt x="3416" y="3036"/>
                    </a:lnTo>
                    <a:lnTo>
                      <a:pt x="3528" y="2374"/>
                    </a:lnTo>
                    <a:lnTo>
                      <a:pt x="3530" y="2356"/>
                    </a:lnTo>
                    <a:lnTo>
                      <a:pt x="3532" y="2336"/>
                    </a:lnTo>
                    <a:lnTo>
                      <a:pt x="3533" y="2314"/>
                    </a:lnTo>
                    <a:lnTo>
                      <a:pt x="3533" y="2296"/>
                    </a:lnTo>
                    <a:lnTo>
                      <a:pt x="3518" y="1294"/>
                    </a:lnTo>
                    <a:lnTo>
                      <a:pt x="3518" y="1277"/>
                    </a:lnTo>
                    <a:lnTo>
                      <a:pt x="3514" y="1259"/>
                    </a:lnTo>
                    <a:lnTo>
                      <a:pt x="3510" y="1240"/>
                    </a:lnTo>
                    <a:lnTo>
                      <a:pt x="3506" y="1225"/>
                    </a:lnTo>
                    <a:lnTo>
                      <a:pt x="3504" y="1221"/>
                    </a:lnTo>
                    <a:lnTo>
                      <a:pt x="3499" y="1210"/>
                    </a:lnTo>
                    <a:lnTo>
                      <a:pt x="3492" y="1193"/>
                    </a:lnTo>
                    <a:lnTo>
                      <a:pt x="3481" y="1171"/>
                    </a:lnTo>
                    <a:lnTo>
                      <a:pt x="3467" y="1146"/>
                    </a:lnTo>
                    <a:lnTo>
                      <a:pt x="3450" y="1119"/>
                    </a:lnTo>
                    <a:lnTo>
                      <a:pt x="3431" y="1090"/>
                    </a:lnTo>
                    <a:lnTo>
                      <a:pt x="3408" y="1061"/>
                    </a:lnTo>
                    <a:lnTo>
                      <a:pt x="3383" y="1032"/>
                    </a:lnTo>
                    <a:lnTo>
                      <a:pt x="3355" y="1006"/>
                    </a:lnTo>
                    <a:lnTo>
                      <a:pt x="3324" y="981"/>
                    </a:lnTo>
                    <a:lnTo>
                      <a:pt x="3291" y="960"/>
                    </a:lnTo>
                    <a:lnTo>
                      <a:pt x="3253" y="945"/>
                    </a:lnTo>
                    <a:lnTo>
                      <a:pt x="3215" y="936"/>
                    </a:lnTo>
                    <a:lnTo>
                      <a:pt x="1474" y="936"/>
                    </a:lnTo>
                    <a:lnTo>
                      <a:pt x="1473" y="936"/>
                    </a:lnTo>
                    <a:close/>
                    <a:moveTo>
                      <a:pt x="1313" y="412"/>
                    </a:moveTo>
                    <a:lnTo>
                      <a:pt x="1255" y="435"/>
                    </a:lnTo>
                    <a:lnTo>
                      <a:pt x="1194" y="450"/>
                    </a:lnTo>
                    <a:lnTo>
                      <a:pt x="1134" y="460"/>
                    </a:lnTo>
                    <a:lnTo>
                      <a:pt x="1073" y="464"/>
                    </a:lnTo>
                    <a:lnTo>
                      <a:pt x="1008" y="460"/>
                    </a:lnTo>
                    <a:lnTo>
                      <a:pt x="948" y="450"/>
                    </a:lnTo>
                    <a:lnTo>
                      <a:pt x="891" y="435"/>
                    </a:lnTo>
                    <a:lnTo>
                      <a:pt x="836" y="413"/>
                    </a:lnTo>
                    <a:lnTo>
                      <a:pt x="831" y="420"/>
                    </a:lnTo>
                    <a:lnTo>
                      <a:pt x="731" y="501"/>
                    </a:lnTo>
                    <a:lnTo>
                      <a:pt x="724" y="510"/>
                    </a:lnTo>
                    <a:lnTo>
                      <a:pt x="719" y="522"/>
                    </a:lnTo>
                    <a:lnTo>
                      <a:pt x="718" y="534"/>
                    </a:lnTo>
                    <a:lnTo>
                      <a:pt x="735" y="699"/>
                    </a:lnTo>
                    <a:lnTo>
                      <a:pt x="752" y="682"/>
                    </a:lnTo>
                    <a:lnTo>
                      <a:pt x="770" y="670"/>
                    </a:lnTo>
                    <a:lnTo>
                      <a:pt x="792" y="661"/>
                    </a:lnTo>
                    <a:lnTo>
                      <a:pt x="815" y="659"/>
                    </a:lnTo>
                    <a:lnTo>
                      <a:pt x="843" y="663"/>
                    </a:lnTo>
                    <a:lnTo>
                      <a:pt x="866" y="672"/>
                    </a:lnTo>
                    <a:lnTo>
                      <a:pt x="887" y="689"/>
                    </a:lnTo>
                    <a:lnTo>
                      <a:pt x="902" y="710"/>
                    </a:lnTo>
                    <a:lnTo>
                      <a:pt x="913" y="733"/>
                    </a:lnTo>
                    <a:lnTo>
                      <a:pt x="916" y="761"/>
                    </a:lnTo>
                    <a:lnTo>
                      <a:pt x="913" y="787"/>
                    </a:lnTo>
                    <a:lnTo>
                      <a:pt x="902" y="812"/>
                    </a:lnTo>
                    <a:lnTo>
                      <a:pt x="887" y="832"/>
                    </a:lnTo>
                    <a:lnTo>
                      <a:pt x="866" y="847"/>
                    </a:lnTo>
                    <a:lnTo>
                      <a:pt x="843" y="857"/>
                    </a:lnTo>
                    <a:lnTo>
                      <a:pt x="815" y="861"/>
                    </a:lnTo>
                    <a:lnTo>
                      <a:pt x="792" y="858"/>
                    </a:lnTo>
                    <a:lnTo>
                      <a:pt x="770" y="850"/>
                    </a:lnTo>
                    <a:lnTo>
                      <a:pt x="751" y="838"/>
                    </a:lnTo>
                    <a:lnTo>
                      <a:pt x="784" y="1131"/>
                    </a:lnTo>
                    <a:lnTo>
                      <a:pt x="784" y="1134"/>
                    </a:lnTo>
                    <a:lnTo>
                      <a:pt x="786" y="1135"/>
                    </a:lnTo>
                    <a:lnTo>
                      <a:pt x="788" y="1137"/>
                    </a:lnTo>
                    <a:lnTo>
                      <a:pt x="1349" y="1137"/>
                    </a:lnTo>
                    <a:lnTo>
                      <a:pt x="1350" y="1135"/>
                    </a:lnTo>
                    <a:lnTo>
                      <a:pt x="1353" y="1134"/>
                    </a:lnTo>
                    <a:lnTo>
                      <a:pt x="1354" y="1133"/>
                    </a:lnTo>
                    <a:lnTo>
                      <a:pt x="1356" y="1130"/>
                    </a:lnTo>
                    <a:lnTo>
                      <a:pt x="1400" y="846"/>
                    </a:lnTo>
                    <a:lnTo>
                      <a:pt x="1374" y="857"/>
                    </a:lnTo>
                    <a:lnTo>
                      <a:pt x="1345" y="861"/>
                    </a:lnTo>
                    <a:lnTo>
                      <a:pt x="1318" y="857"/>
                    </a:lnTo>
                    <a:lnTo>
                      <a:pt x="1294" y="847"/>
                    </a:lnTo>
                    <a:lnTo>
                      <a:pt x="1273" y="832"/>
                    </a:lnTo>
                    <a:lnTo>
                      <a:pt x="1258" y="812"/>
                    </a:lnTo>
                    <a:lnTo>
                      <a:pt x="1248" y="787"/>
                    </a:lnTo>
                    <a:lnTo>
                      <a:pt x="1244" y="761"/>
                    </a:lnTo>
                    <a:lnTo>
                      <a:pt x="1248" y="733"/>
                    </a:lnTo>
                    <a:lnTo>
                      <a:pt x="1258" y="710"/>
                    </a:lnTo>
                    <a:lnTo>
                      <a:pt x="1273" y="689"/>
                    </a:lnTo>
                    <a:lnTo>
                      <a:pt x="1294" y="672"/>
                    </a:lnTo>
                    <a:lnTo>
                      <a:pt x="1318" y="663"/>
                    </a:lnTo>
                    <a:lnTo>
                      <a:pt x="1345" y="659"/>
                    </a:lnTo>
                    <a:lnTo>
                      <a:pt x="1368" y="661"/>
                    </a:lnTo>
                    <a:lnTo>
                      <a:pt x="1389" y="668"/>
                    </a:lnTo>
                    <a:lnTo>
                      <a:pt x="1407" y="681"/>
                    </a:lnTo>
                    <a:lnTo>
                      <a:pt x="1422" y="696"/>
                    </a:lnTo>
                    <a:lnTo>
                      <a:pt x="1447" y="534"/>
                    </a:lnTo>
                    <a:lnTo>
                      <a:pt x="1447" y="525"/>
                    </a:lnTo>
                    <a:lnTo>
                      <a:pt x="1442" y="514"/>
                    </a:lnTo>
                    <a:lnTo>
                      <a:pt x="1436" y="506"/>
                    </a:lnTo>
                    <a:lnTo>
                      <a:pt x="1318" y="417"/>
                    </a:lnTo>
                    <a:lnTo>
                      <a:pt x="1316" y="415"/>
                    </a:lnTo>
                    <a:lnTo>
                      <a:pt x="1313" y="412"/>
                    </a:lnTo>
                    <a:close/>
                    <a:moveTo>
                      <a:pt x="1775" y="393"/>
                    </a:moveTo>
                    <a:lnTo>
                      <a:pt x="1744" y="394"/>
                    </a:lnTo>
                    <a:lnTo>
                      <a:pt x="1715" y="399"/>
                    </a:lnTo>
                    <a:lnTo>
                      <a:pt x="1688" y="409"/>
                    </a:lnTo>
                    <a:lnTo>
                      <a:pt x="1660" y="423"/>
                    </a:lnTo>
                    <a:lnTo>
                      <a:pt x="1633" y="441"/>
                    </a:lnTo>
                    <a:lnTo>
                      <a:pt x="1608" y="460"/>
                    </a:lnTo>
                    <a:lnTo>
                      <a:pt x="1586" y="484"/>
                    </a:lnTo>
                    <a:lnTo>
                      <a:pt x="1567" y="506"/>
                    </a:lnTo>
                    <a:lnTo>
                      <a:pt x="1553" y="529"/>
                    </a:lnTo>
                    <a:lnTo>
                      <a:pt x="1543" y="552"/>
                    </a:lnTo>
                    <a:lnTo>
                      <a:pt x="1540" y="573"/>
                    </a:lnTo>
                    <a:lnTo>
                      <a:pt x="1544" y="594"/>
                    </a:lnTo>
                    <a:lnTo>
                      <a:pt x="1553" y="616"/>
                    </a:lnTo>
                    <a:lnTo>
                      <a:pt x="1565" y="638"/>
                    </a:lnTo>
                    <a:lnTo>
                      <a:pt x="1582" y="660"/>
                    </a:lnTo>
                    <a:lnTo>
                      <a:pt x="1602" y="681"/>
                    </a:lnTo>
                    <a:lnTo>
                      <a:pt x="1635" y="705"/>
                    </a:lnTo>
                    <a:lnTo>
                      <a:pt x="1671" y="726"/>
                    </a:lnTo>
                    <a:lnTo>
                      <a:pt x="1707" y="740"/>
                    </a:lnTo>
                    <a:lnTo>
                      <a:pt x="1746" y="748"/>
                    </a:lnTo>
                    <a:lnTo>
                      <a:pt x="1783" y="748"/>
                    </a:lnTo>
                    <a:lnTo>
                      <a:pt x="1820" y="744"/>
                    </a:lnTo>
                    <a:lnTo>
                      <a:pt x="1859" y="733"/>
                    </a:lnTo>
                    <a:lnTo>
                      <a:pt x="1897" y="718"/>
                    </a:lnTo>
                    <a:lnTo>
                      <a:pt x="1937" y="700"/>
                    </a:lnTo>
                    <a:lnTo>
                      <a:pt x="1974" y="679"/>
                    </a:lnTo>
                    <a:lnTo>
                      <a:pt x="2009" y="656"/>
                    </a:lnTo>
                    <a:lnTo>
                      <a:pt x="2038" y="632"/>
                    </a:lnTo>
                    <a:lnTo>
                      <a:pt x="2061" y="610"/>
                    </a:lnTo>
                    <a:lnTo>
                      <a:pt x="2078" y="588"/>
                    </a:lnTo>
                    <a:lnTo>
                      <a:pt x="2082" y="583"/>
                    </a:lnTo>
                    <a:lnTo>
                      <a:pt x="2083" y="577"/>
                    </a:lnTo>
                    <a:lnTo>
                      <a:pt x="2085" y="574"/>
                    </a:lnTo>
                    <a:lnTo>
                      <a:pt x="2085" y="572"/>
                    </a:lnTo>
                    <a:lnTo>
                      <a:pt x="2086" y="569"/>
                    </a:lnTo>
                    <a:lnTo>
                      <a:pt x="2085" y="569"/>
                    </a:lnTo>
                    <a:lnTo>
                      <a:pt x="2074" y="548"/>
                    </a:lnTo>
                    <a:lnTo>
                      <a:pt x="2056" y="526"/>
                    </a:lnTo>
                    <a:lnTo>
                      <a:pt x="2032" y="504"/>
                    </a:lnTo>
                    <a:lnTo>
                      <a:pt x="2005" y="481"/>
                    </a:lnTo>
                    <a:lnTo>
                      <a:pt x="1973" y="457"/>
                    </a:lnTo>
                    <a:lnTo>
                      <a:pt x="1937" y="437"/>
                    </a:lnTo>
                    <a:lnTo>
                      <a:pt x="1899" y="419"/>
                    </a:lnTo>
                    <a:lnTo>
                      <a:pt x="1859" y="405"/>
                    </a:lnTo>
                    <a:lnTo>
                      <a:pt x="1817" y="397"/>
                    </a:lnTo>
                    <a:lnTo>
                      <a:pt x="1775" y="393"/>
                    </a:lnTo>
                    <a:close/>
                    <a:moveTo>
                      <a:pt x="396" y="393"/>
                    </a:moveTo>
                    <a:lnTo>
                      <a:pt x="354" y="397"/>
                    </a:lnTo>
                    <a:lnTo>
                      <a:pt x="312" y="405"/>
                    </a:lnTo>
                    <a:lnTo>
                      <a:pt x="272" y="419"/>
                    </a:lnTo>
                    <a:lnTo>
                      <a:pt x="234" y="437"/>
                    </a:lnTo>
                    <a:lnTo>
                      <a:pt x="198" y="457"/>
                    </a:lnTo>
                    <a:lnTo>
                      <a:pt x="166" y="481"/>
                    </a:lnTo>
                    <a:lnTo>
                      <a:pt x="139" y="504"/>
                    </a:lnTo>
                    <a:lnTo>
                      <a:pt x="115" y="526"/>
                    </a:lnTo>
                    <a:lnTo>
                      <a:pt x="97" y="548"/>
                    </a:lnTo>
                    <a:lnTo>
                      <a:pt x="86" y="569"/>
                    </a:lnTo>
                    <a:lnTo>
                      <a:pt x="85" y="569"/>
                    </a:lnTo>
                    <a:lnTo>
                      <a:pt x="86" y="572"/>
                    </a:lnTo>
                    <a:lnTo>
                      <a:pt x="86" y="574"/>
                    </a:lnTo>
                    <a:lnTo>
                      <a:pt x="88" y="577"/>
                    </a:lnTo>
                    <a:lnTo>
                      <a:pt x="89" y="583"/>
                    </a:lnTo>
                    <a:lnTo>
                      <a:pt x="93" y="588"/>
                    </a:lnTo>
                    <a:lnTo>
                      <a:pt x="110" y="610"/>
                    </a:lnTo>
                    <a:lnTo>
                      <a:pt x="133" y="632"/>
                    </a:lnTo>
                    <a:lnTo>
                      <a:pt x="162" y="656"/>
                    </a:lnTo>
                    <a:lnTo>
                      <a:pt x="197" y="679"/>
                    </a:lnTo>
                    <a:lnTo>
                      <a:pt x="234" y="700"/>
                    </a:lnTo>
                    <a:lnTo>
                      <a:pt x="274" y="718"/>
                    </a:lnTo>
                    <a:lnTo>
                      <a:pt x="312" y="733"/>
                    </a:lnTo>
                    <a:lnTo>
                      <a:pt x="351" y="744"/>
                    </a:lnTo>
                    <a:lnTo>
                      <a:pt x="388" y="748"/>
                    </a:lnTo>
                    <a:lnTo>
                      <a:pt x="425" y="748"/>
                    </a:lnTo>
                    <a:lnTo>
                      <a:pt x="464" y="740"/>
                    </a:lnTo>
                    <a:lnTo>
                      <a:pt x="500" y="726"/>
                    </a:lnTo>
                    <a:lnTo>
                      <a:pt x="536" y="705"/>
                    </a:lnTo>
                    <a:lnTo>
                      <a:pt x="569" y="681"/>
                    </a:lnTo>
                    <a:lnTo>
                      <a:pt x="589" y="660"/>
                    </a:lnTo>
                    <a:lnTo>
                      <a:pt x="606" y="638"/>
                    </a:lnTo>
                    <a:lnTo>
                      <a:pt x="618" y="616"/>
                    </a:lnTo>
                    <a:lnTo>
                      <a:pt x="627" y="594"/>
                    </a:lnTo>
                    <a:lnTo>
                      <a:pt x="631" y="573"/>
                    </a:lnTo>
                    <a:lnTo>
                      <a:pt x="628" y="552"/>
                    </a:lnTo>
                    <a:lnTo>
                      <a:pt x="618" y="529"/>
                    </a:lnTo>
                    <a:lnTo>
                      <a:pt x="605" y="506"/>
                    </a:lnTo>
                    <a:lnTo>
                      <a:pt x="585" y="484"/>
                    </a:lnTo>
                    <a:lnTo>
                      <a:pt x="563" y="460"/>
                    </a:lnTo>
                    <a:lnTo>
                      <a:pt x="538" y="441"/>
                    </a:lnTo>
                    <a:lnTo>
                      <a:pt x="511" y="423"/>
                    </a:lnTo>
                    <a:lnTo>
                      <a:pt x="483" y="409"/>
                    </a:lnTo>
                    <a:lnTo>
                      <a:pt x="456" y="399"/>
                    </a:lnTo>
                    <a:lnTo>
                      <a:pt x="427" y="394"/>
                    </a:lnTo>
                    <a:lnTo>
                      <a:pt x="396" y="393"/>
                    </a:lnTo>
                    <a:close/>
                    <a:moveTo>
                      <a:pt x="607" y="0"/>
                    </a:moveTo>
                    <a:lnTo>
                      <a:pt x="624" y="5"/>
                    </a:lnTo>
                    <a:lnTo>
                      <a:pt x="636" y="16"/>
                    </a:lnTo>
                    <a:lnTo>
                      <a:pt x="643" y="33"/>
                    </a:lnTo>
                    <a:lnTo>
                      <a:pt x="660" y="88"/>
                    </a:lnTo>
                    <a:lnTo>
                      <a:pt x="679" y="136"/>
                    </a:lnTo>
                    <a:lnTo>
                      <a:pt x="702" y="179"/>
                    </a:lnTo>
                    <a:lnTo>
                      <a:pt x="727" y="218"/>
                    </a:lnTo>
                    <a:lnTo>
                      <a:pt x="756" y="251"/>
                    </a:lnTo>
                    <a:lnTo>
                      <a:pt x="785" y="278"/>
                    </a:lnTo>
                    <a:lnTo>
                      <a:pt x="815" y="302"/>
                    </a:lnTo>
                    <a:lnTo>
                      <a:pt x="847" y="321"/>
                    </a:lnTo>
                    <a:lnTo>
                      <a:pt x="880" y="337"/>
                    </a:lnTo>
                    <a:lnTo>
                      <a:pt x="912" y="350"/>
                    </a:lnTo>
                    <a:lnTo>
                      <a:pt x="942" y="359"/>
                    </a:lnTo>
                    <a:lnTo>
                      <a:pt x="973" y="366"/>
                    </a:lnTo>
                    <a:lnTo>
                      <a:pt x="1001" y="372"/>
                    </a:lnTo>
                    <a:lnTo>
                      <a:pt x="1028" y="375"/>
                    </a:lnTo>
                    <a:lnTo>
                      <a:pt x="1051" y="376"/>
                    </a:lnTo>
                    <a:lnTo>
                      <a:pt x="1073" y="377"/>
                    </a:lnTo>
                    <a:lnTo>
                      <a:pt x="1110" y="376"/>
                    </a:lnTo>
                    <a:lnTo>
                      <a:pt x="1149" y="372"/>
                    </a:lnTo>
                    <a:lnTo>
                      <a:pt x="1188" y="364"/>
                    </a:lnTo>
                    <a:lnTo>
                      <a:pt x="1226" y="354"/>
                    </a:lnTo>
                    <a:lnTo>
                      <a:pt x="1265" y="340"/>
                    </a:lnTo>
                    <a:lnTo>
                      <a:pt x="1302" y="322"/>
                    </a:lnTo>
                    <a:lnTo>
                      <a:pt x="1338" y="300"/>
                    </a:lnTo>
                    <a:lnTo>
                      <a:pt x="1371" y="275"/>
                    </a:lnTo>
                    <a:lnTo>
                      <a:pt x="1401" y="246"/>
                    </a:lnTo>
                    <a:lnTo>
                      <a:pt x="1430" y="213"/>
                    </a:lnTo>
                    <a:lnTo>
                      <a:pt x="1454" y="176"/>
                    </a:lnTo>
                    <a:lnTo>
                      <a:pt x="1474" y="133"/>
                    </a:lnTo>
                    <a:lnTo>
                      <a:pt x="1491" y="87"/>
                    </a:lnTo>
                    <a:lnTo>
                      <a:pt x="1502" y="36"/>
                    </a:lnTo>
                    <a:lnTo>
                      <a:pt x="1507" y="19"/>
                    </a:lnTo>
                    <a:lnTo>
                      <a:pt x="1520" y="8"/>
                    </a:lnTo>
                    <a:lnTo>
                      <a:pt x="1535" y="0"/>
                    </a:lnTo>
                    <a:lnTo>
                      <a:pt x="1551" y="0"/>
                    </a:lnTo>
                    <a:lnTo>
                      <a:pt x="1568" y="5"/>
                    </a:lnTo>
                    <a:lnTo>
                      <a:pt x="1580" y="16"/>
                    </a:lnTo>
                    <a:lnTo>
                      <a:pt x="1587" y="31"/>
                    </a:lnTo>
                    <a:lnTo>
                      <a:pt x="1587" y="49"/>
                    </a:lnTo>
                    <a:lnTo>
                      <a:pt x="1576" y="102"/>
                    </a:lnTo>
                    <a:lnTo>
                      <a:pt x="1561" y="150"/>
                    </a:lnTo>
                    <a:lnTo>
                      <a:pt x="1542" y="195"/>
                    </a:lnTo>
                    <a:lnTo>
                      <a:pt x="1518" y="237"/>
                    </a:lnTo>
                    <a:lnTo>
                      <a:pt x="1492" y="274"/>
                    </a:lnTo>
                    <a:lnTo>
                      <a:pt x="1462" y="308"/>
                    </a:lnTo>
                    <a:lnTo>
                      <a:pt x="1430" y="339"/>
                    </a:lnTo>
                    <a:lnTo>
                      <a:pt x="1394" y="366"/>
                    </a:lnTo>
                    <a:lnTo>
                      <a:pt x="1488" y="437"/>
                    </a:lnTo>
                    <a:lnTo>
                      <a:pt x="1495" y="442"/>
                    </a:lnTo>
                    <a:lnTo>
                      <a:pt x="1502" y="449"/>
                    </a:lnTo>
                    <a:lnTo>
                      <a:pt x="1533" y="412"/>
                    </a:lnTo>
                    <a:lnTo>
                      <a:pt x="1571" y="379"/>
                    </a:lnTo>
                    <a:lnTo>
                      <a:pt x="1611" y="351"/>
                    </a:lnTo>
                    <a:lnTo>
                      <a:pt x="1653" y="329"/>
                    </a:lnTo>
                    <a:lnTo>
                      <a:pt x="1695" y="315"/>
                    </a:lnTo>
                    <a:lnTo>
                      <a:pt x="1746" y="307"/>
                    </a:lnTo>
                    <a:lnTo>
                      <a:pt x="1797" y="307"/>
                    </a:lnTo>
                    <a:lnTo>
                      <a:pt x="1848" y="314"/>
                    </a:lnTo>
                    <a:lnTo>
                      <a:pt x="1897" y="326"/>
                    </a:lnTo>
                    <a:lnTo>
                      <a:pt x="1944" y="344"/>
                    </a:lnTo>
                    <a:lnTo>
                      <a:pt x="1988" y="366"/>
                    </a:lnTo>
                    <a:lnTo>
                      <a:pt x="2030" y="393"/>
                    </a:lnTo>
                    <a:lnTo>
                      <a:pt x="2067" y="420"/>
                    </a:lnTo>
                    <a:lnTo>
                      <a:pt x="2100" y="448"/>
                    </a:lnTo>
                    <a:lnTo>
                      <a:pt x="2127" y="477"/>
                    </a:lnTo>
                    <a:lnTo>
                      <a:pt x="2149" y="506"/>
                    </a:lnTo>
                    <a:lnTo>
                      <a:pt x="2165" y="532"/>
                    </a:lnTo>
                    <a:lnTo>
                      <a:pt x="2169" y="547"/>
                    </a:lnTo>
                    <a:lnTo>
                      <a:pt x="2172" y="563"/>
                    </a:lnTo>
                    <a:lnTo>
                      <a:pt x="2172" y="584"/>
                    </a:lnTo>
                    <a:lnTo>
                      <a:pt x="2166" y="608"/>
                    </a:lnTo>
                    <a:lnTo>
                      <a:pt x="2154" y="632"/>
                    </a:lnTo>
                    <a:lnTo>
                      <a:pt x="2130" y="664"/>
                    </a:lnTo>
                    <a:lnTo>
                      <a:pt x="2098" y="696"/>
                    </a:lnTo>
                    <a:lnTo>
                      <a:pt x="2061" y="725"/>
                    </a:lnTo>
                    <a:lnTo>
                      <a:pt x="2020" y="754"/>
                    </a:lnTo>
                    <a:lnTo>
                      <a:pt x="1974" y="778"/>
                    </a:lnTo>
                    <a:lnTo>
                      <a:pt x="1928" y="800"/>
                    </a:lnTo>
                    <a:lnTo>
                      <a:pt x="1879" y="817"/>
                    </a:lnTo>
                    <a:lnTo>
                      <a:pt x="1833" y="829"/>
                    </a:lnTo>
                    <a:lnTo>
                      <a:pt x="1788" y="835"/>
                    </a:lnTo>
                    <a:lnTo>
                      <a:pt x="1770" y="836"/>
                    </a:lnTo>
                    <a:lnTo>
                      <a:pt x="1722" y="832"/>
                    </a:lnTo>
                    <a:lnTo>
                      <a:pt x="1674" y="821"/>
                    </a:lnTo>
                    <a:lnTo>
                      <a:pt x="1629" y="802"/>
                    </a:lnTo>
                    <a:lnTo>
                      <a:pt x="1584" y="777"/>
                    </a:lnTo>
                    <a:lnTo>
                      <a:pt x="1544" y="745"/>
                    </a:lnTo>
                    <a:lnTo>
                      <a:pt x="1525" y="726"/>
                    </a:lnTo>
                    <a:lnTo>
                      <a:pt x="1509" y="707"/>
                    </a:lnTo>
                    <a:lnTo>
                      <a:pt x="1487" y="849"/>
                    </a:lnTo>
                    <a:lnTo>
                      <a:pt x="3218" y="849"/>
                    </a:lnTo>
                    <a:lnTo>
                      <a:pt x="3223" y="850"/>
                    </a:lnTo>
                    <a:lnTo>
                      <a:pt x="3230" y="849"/>
                    </a:lnTo>
                    <a:lnTo>
                      <a:pt x="3302" y="849"/>
                    </a:lnTo>
                    <a:lnTo>
                      <a:pt x="3368" y="850"/>
                    </a:lnTo>
                    <a:lnTo>
                      <a:pt x="3426" y="853"/>
                    </a:lnTo>
                    <a:lnTo>
                      <a:pt x="3478" y="856"/>
                    </a:lnTo>
                    <a:lnTo>
                      <a:pt x="3524" y="861"/>
                    </a:lnTo>
                    <a:lnTo>
                      <a:pt x="3564" y="868"/>
                    </a:lnTo>
                    <a:lnTo>
                      <a:pt x="3599" y="875"/>
                    </a:lnTo>
                    <a:lnTo>
                      <a:pt x="3631" y="883"/>
                    </a:lnTo>
                    <a:lnTo>
                      <a:pt x="3659" y="891"/>
                    </a:lnTo>
                    <a:lnTo>
                      <a:pt x="3683" y="901"/>
                    </a:lnTo>
                    <a:lnTo>
                      <a:pt x="3704" y="911"/>
                    </a:lnTo>
                    <a:lnTo>
                      <a:pt x="3723" y="922"/>
                    </a:lnTo>
                    <a:lnTo>
                      <a:pt x="3741" y="933"/>
                    </a:lnTo>
                    <a:lnTo>
                      <a:pt x="3758" y="944"/>
                    </a:lnTo>
                    <a:lnTo>
                      <a:pt x="3774" y="955"/>
                    </a:lnTo>
                    <a:lnTo>
                      <a:pt x="3791" y="966"/>
                    </a:lnTo>
                    <a:lnTo>
                      <a:pt x="3841" y="1003"/>
                    </a:lnTo>
                    <a:lnTo>
                      <a:pt x="3880" y="1042"/>
                    </a:lnTo>
                    <a:lnTo>
                      <a:pt x="3914" y="1082"/>
                    </a:lnTo>
                    <a:lnTo>
                      <a:pt x="3940" y="1123"/>
                    </a:lnTo>
                    <a:lnTo>
                      <a:pt x="3959" y="1166"/>
                    </a:lnTo>
                    <a:lnTo>
                      <a:pt x="3971" y="1208"/>
                    </a:lnTo>
                    <a:lnTo>
                      <a:pt x="3980" y="1253"/>
                    </a:lnTo>
                    <a:lnTo>
                      <a:pt x="3982" y="1297"/>
                    </a:lnTo>
                    <a:lnTo>
                      <a:pt x="3982" y="1342"/>
                    </a:lnTo>
                    <a:lnTo>
                      <a:pt x="3978" y="1386"/>
                    </a:lnTo>
                    <a:lnTo>
                      <a:pt x="3971" y="1430"/>
                    </a:lnTo>
                    <a:lnTo>
                      <a:pt x="3962" y="1474"/>
                    </a:lnTo>
                    <a:lnTo>
                      <a:pt x="3951" y="1517"/>
                    </a:lnTo>
                    <a:lnTo>
                      <a:pt x="3940" y="1560"/>
                    </a:lnTo>
                    <a:lnTo>
                      <a:pt x="3929" y="1600"/>
                    </a:lnTo>
                    <a:lnTo>
                      <a:pt x="3916" y="1641"/>
                    </a:lnTo>
                    <a:lnTo>
                      <a:pt x="3905" y="1683"/>
                    </a:lnTo>
                    <a:lnTo>
                      <a:pt x="3896" y="1721"/>
                    </a:lnTo>
                    <a:lnTo>
                      <a:pt x="3889" y="1760"/>
                    </a:lnTo>
                    <a:lnTo>
                      <a:pt x="3883" y="1796"/>
                    </a:lnTo>
                    <a:lnTo>
                      <a:pt x="3883" y="1830"/>
                    </a:lnTo>
                    <a:lnTo>
                      <a:pt x="3886" y="1862"/>
                    </a:lnTo>
                    <a:lnTo>
                      <a:pt x="3894" y="1891"/>
                    </a:lnTo>
                    <a:lnTo>
                      <a:pt x="3897" y="1907"/>
                    </a:lnTo>
                    <a:lnTo>
                      <a:pt x="3894" y="1924"/>
                    </a:lnTo>
                    <a:lnTo>
                      <a:pt x="3885" y="1937"/>
                    </a:lnTo>
                    <a:lnTo>
                      <a:pt x="3869" y="1947"/>
                    </a:lnTo>
                    <a:lnTo>
                      <a:pt x="3863" y="1950"/>
                    </a:lnTo>
                    <a:lnTo>
                      <a:pt x="3854" y="1950"/>
                    </a:lnTo>
                    <a:lnTo>
                      <a:pt x="3838" y="1947"/>
                    </a:lnTo>
                    <a:lnTo>
                      <a:pt x="3824" y="1937"/>
                    </a:lnTo>
                    <a:lnTo>
                      <a:pt x="3814" y="1922"/>
                    </a:lnTo>
                    <a:lnTo>
                      <a:pt x="3802" y="1884"/>
                    </a:lnTo>
                    <a:lnTo>
                      <a:pt x="3796" y="1844"/>
                    </a:lnTo>
                    <a:lnTo>
                      <a:pt x="3796" y="1801"/>
                    </a:lnTo>
                    <a:lnTo>
                      <a:pt x="3801" y="1758"/>
                    </a:lnTo>
                    <a:lnTo>
                      <a:pt x="3809" y="1714"/>
                    </a:lnTo>
                    <a:lnTo>
                      <a:pt x="3818" y="1669"/>
                    </a:lnTo>
                    <a:lnTo>
                      <a:pt x="3831" y="1623"/>
                    </a:lnTo>
                    <a:lnTo>
                      <a:pt x="3845" y="1576"/>
                    </a:lnTo>
                    <a:lnTo>
                      <a:pt x="3857" y="1534"/>
                    </a:lnTo>
                    <a:lnTo>
                      <a:pt x="3868" y="1491"/>
                    </a:lnTo>
                    <a:lnTo>
                      <a:pt x="3879" y="1448"/>
                    </a:lnTo>
                    <a:lnTo>
                      <a:pt x="3887" y="1407"/>
                    </a:lnTo>
                    <a:lnTo>
                      <a:pt x="3894" y="1366"/>
                    </a:lnTo>
                    <a:lnTo>
                      <a:pt x="3897" y="1326"/>
                    </a:lnTo>
                    <a:lnTo>
                      <a:pt x="3897" y="1286"/>
                    </a:lnTo>
                    <a:lnTo>
                      <a:pt x="3892" y="1247"/>
                    </a:lnTo>
                    <a:lnTo>
                      <a:pt x="3882" y="1210"/>
                    </a:lnTo>
                    <a:lnTo>
                      <a:pt x="3867" y="1173"/>
                    </a:lnTo>
                    <a:lnTo>
                      <a:pt x="3846" y="1137"/>
                    </a:lnTo>
                    <a:lnTo>
                      <a:pt x="3818" y="1102"/>
                    </a:lnTo>
                    <a:lnTo>
                      <a:pt x="3784" y="1069"/>
                    </a:lnTo>
                    <a:lnTo>
                      <a:pt x="3743" y="1038"/>
                    </a:lnTo>
                    <a:lnTo>
                      <a:pt x="3725" y="1027"/>
                    </a:lnTo>
                    <a:lnTo>
                      <a:pt x="3708" y="1014"/>
                    </a:lnTo>
                    <a:lnTo>
                      <a:pt x="3690" y="1003"/>
                    </a:lnTo>
                    <a:lnTo>
                      <a:pt x="3670" y="992"/>
                    </a:lnTo>
                    <a:lnTo>
                      <a:pt x="3648" y="981"/>
                    </a:lnTo>
                    <a:lnTo>
                      <a:pt x="3623" y="971"/>
                    </a:lnTo>
                    <a:lnTo>
                      <a:pt x="3592" y="962"/>
                    </a:lnTo>
                    <a:lnTo>
                      <a:pt x="3557" y="955"/>
                    </a:lnTo>
                    <a:lnTo>
                      <a:pt x="3515" y="948"/>
                    </a:lnTo>
                    <a:lnTo>
                      <a:pt x="3467" y="942"/>
                    </a:lnTo>
                    <a:lnTo>
                      <a:pt x="3409" y="938"/>
                    </a:lnTo>
                    <a:lnTo>
                      <a:pt x="3439" y="966"/>
                    </a:lnTo>
                    <a:lnTo>
                      <a:pt x="3467" y="996"/>
                    </a:lnTo>
                    <a:lnTo>
                      <a:pt x="3492" y="1027"/>
                    </a:lnTo>
                    <a:lnTo>
                      <a:pt x="3514" y="1057"/>
                    </a:lnTo>
                    <a:lnTo>
                      <a:pt x="3532" y="1086"/>
                    </a:lnTo>
                    <a:lnTo>
                      <a:pt x="3548" y="1113"/>
                    </a:lnTo>
                    <a:lnTo>
                      <a:pt x="3561" y="1138"/>
                    </a:lnTo>
                    <a:lnTo>
                      <a:pt x="3572" y="1160"/>
                    </a:lnTo>
                    <a:lnTo>
                      <a:pt x="3580" y="1177"/>
                    </a:lnTo>
                    <a:lnTo>
                      <a:pt x="3584" y="1188"/>
                    </a:lnTo>
                    <a:lnTo>
                      <a:pt x="3587" y="1193"/>
                    </a:lnTo>
                    <a:lnTo>
                      <a:pt x="3594" y="1217"/>
                    </a:lnTo>
                    <a:lnTo>
                      <a:pt x="3599" y="1243"/>
                    </a:lnTo>
                    <a:lnTo>
                      <a:pt x="3603" y="1269"/>
                    </a:lnTo>
                    <a:lnTo>
                      <a:pt x="3605" y="1292"/>
                    </a:lnTo>
                    <a:lnTo>
                      <a:pt x="3620" y="2294"/>
                    </a:lnTo>
                    <a:lnTo>
                      <a:pt x="3620" y="2316"/>
                    </a:lnTo>
                    <a:lnTo>
                      <a:pt x="3619" y="2341"/>
                    </a:lnTo>
                    <a:lnTo>
                      <a:pt x="3616" y="2366"/>
                    </a:lnTo>
                    <a:lnTo>
                      <a:pt x="3613" y="2388"/>
                    </a:lnTo>
                    <a:lnTo>
                      <a:pt x="3503" y="3050"/>
                    </a:lnTo>
                    <a:lnTo>
                      <a:pt x="3495" y="3074"/>
                    </a:lnTo>
                    <a:lnTo>
                      <a:pt x="3479" y="3097"/>
                    </a:lnTo>
                    <a:lnTo>
                      <a:pt x="3459" y="3114"/>
                    </a:lnTo>
                    <a:lnTo>
                      <a:pt x="3435" y="3125"/>
                    </a:lnTo>
                    <a:lnTo>
                      <a:pt x="3409" y="3128"/>
                    </a:lnTo>
                    <a:lnTo>
                      <a:pt x="2902" y="3128"/>
                    </a:lnTo>
                    <a:lnTo>
                      <a:pt x="2879" y="3125"/>
                    </a:lnTo>
                    <a:lnTo>
                      <a:pt x="2858" y="3117"/>
                    </a:lnTo>
                    <a:lnTo>
                      <a:pt x="2840" y="3103"/>
                    </a:lnTo>
                    <a:lnTo>
                      <a:pt x="2826" y="3086"/>
                    </a:lnTo>
                    <a:lnTo>
                      <a:pt x="2818" y="3065"/>
                    </a:lnTo>
                    <a:lnTo>
                      <a:pt x="2815" y="3041"/>
                    </a:lnTo>
                    <a:lnTo>
                      <a:pt x="2815" y="2543"/>
                    </a:lnTo>
                    <a:lnTo>
                      <a:pt x="2760" y="2549"/>
                    </a:lnTo>
                    <a:lnTo>
                      <a:pt x="2705" y="2552"/>
                    </a:lnTo>
                    <a:lnTo>
                      <a:pt x="2659" y="2551"/>
                    </a:lnTo>
                    <a:lnTo>
                      <a:pt x="2615" y="2545"/>
                    </a:lnTo>
                    <a:lnTo>
                      <a:pt x="2615" y="2628"/>
                    </a:lnTo>
                    <a:lnTo>
                      <a:pt x="2611" y="2646"/>
                    </a:lnTo>
                    <a:lnTo>
                      <a:pt x="2603" y="2660"/>
                    </a:lnTo>
                    <a:lnTo>
                      <a:pt x="2589" y="2668"/>
                    </a:lnTo>
                    <a:lnTo>
                      <a:pt x="2571" y="2672"/>
                    </a:lnTo>
                    <a:lnTo>
                      <a:pt x="2555" y="2668"/>
                    </a:lnTo>
                    <a:lnTo>
                      <a:pt x="2541" y="2660"/>
                    </a:lnTo>
                    <a:lnTo>
                      <a:pt x="2531" y="2646"/>
                    </a:lnTo>
                    <a:lnTo>
                      <a:pt x="2528" y="2628"/>
                    </a:lnTo>
                    <a:lnTo>
                      <a:pt x="2528" y="2527"/>
                    </a:lnTo>
                    <a:lnTo>
                      <a:pt x="2476" y="2509"/>
                    </a:lnTo>
                    <a:lnTo>
                      <a:pt x="2428" y="2487"/>
                    </a:lnTo>
                    <a:lnTo>
                      <a:pt x="2382" y="2461"/>
                    </a:lnTo>
                    <a:lnTo>
                      <a:pt x="2342" y="2432"/>
                    </a:lnTo>
                    <a:lnTo>
                      <a:pt x="2342" y="2494"/>
                    </a:lnTo>
                    <a:lnTo>
                      <a:pt x="2338" y="2512"/>
                    </a:lnTo>
                    <a:lnTo>
                      <a:pt x="2329" y="2526"/>
                    </a:lnTo>
                    <a:lnTo>
                      <a:pt x="2315" y="2534"/>
                    </a:lnTo>
                    <a:lnTo>
                      <a:pt x="2298" y="2538"/>
                    </a:lnTo>
                    <a:lnTo>
                      <a:pt x="2282" y="2534"/>
                    </a:lnTo>
                    <a:lnTo>
                      <a:pt x="2268" y="2526"/>
                    </a:lnTo>
                    <a:lnTo>
                      <a:pt x="2258" y="2512"/>
                    </a:lnTo>
                    <a:lnTo>
                      <a:pt x="2256" y="2494"/>
                    </a:lnTo>
                    <a:lnTo>
                      <a:pt x="2256" y="2352"/>
                    </a:lnTo>
                    <a:lnTo>
                      <a:pt x="2254" y="2341"/>
                    </a:lnTo>
                    <a:lnTo>
                      <a:pt x="2249" y="2328"/>
                    </a:lnTo>
                    <a:lnTo>
                      <a:pt x="2242" y="2311"/>
                    </a:lnTo>
                    <a:lnTo>
                      <a:pt x="2234" y="2293"/>
                    </a:lnTo>
                    <a:lnTo>
                      <a:pt x="2227" y="2274"/>
                    </a:lnTo>
                    <a:lnTo>
                      <a:pt x="2218" y="2256"/>
                    </a:lnTo>
                    <a:lnTo>
                      <a:pt x="2214" y="2239"/>
                    </a:lnTo>
                    <a:lnTo>
                      <a:pt x="1922" y="2239"/>
                    </a:lnTo>
                    <a:lnTo>
                      <a:pt x="1921" y="2241"/>
                    </a:lnTo>
                    <a:lnTo>
                      <a:pt x="1919" y="2242"/>
                    </a:lnTo>
                    <a:lnTo>
                      <a:pt x="1919" y="2243"/>
                    </a:lnTo>
                    <a:lnTo>
                      <a:pt x="1860" y="3040"/>
                    </a:lnTo>
                    <a:lnTo>
                      <a:pt x="1855" y="3063"/>
                    </a:lnTo>
                    <a:lnTo>
                      <a:pt x="1845" y="3083"/>
                    </a:lnTo>
                    <a:lnTo>
                      <a:pt x="1831" y="3099"/>
                    </a:lnTo>
                    <a:lnTo>
                      <a:pt x="1813" y="3113"/>
                    </a:lnTo>
                    <a:lnTo>
                      <a:pt x="1793" y="3121"/>
                    </a:lnTo>
                    <a:lnTo>
                      <a:pt x="1769" y="3124"/>
                    </a:lnTo>
                    <a:lnTo>
                      <a:pt x="1273" y="3124"/>
                    </a:lnTo>
                    <a:lnTo>
                      <a:pt x="1250" y="3121"/>
                    </a:lnTo>
                    <a:lnTo>
                      <a:pt x="1229" y="3113"/>
                    </a:lnTo>
                    <a:lnTo>
                      <a:pt x="1211" y="3099"/>
                    </a:lnTo>
                    <a:lnTo>
                      <a:pt x="1197" y="3083"/>
                    </a:lnTo>
                    <a:lnTo>
                      <a:pt x="1188" y="3062"/>
                    </a:lnTo>
                    <a:lnTo>
                      <a:pt x="1182" y="3040"/>
                    </a:lnTo>
                    <a:lnTo>
                      <a:pt x="1124" y="2181"/>
                    </a:lnTo>
                    <a:lnTo>
                      <a:pt x="1087" y="2158"/>
                    </a:lnTo>
                    <a:lnTo>
                      <a:pt x="1050" y="2129"/>
                    </a:lnTo>
                    <a:lnTo>
                      <a:pt x="1014" y="2096"/>
                    </a:lnTo>
                    <a:lnTo>
                      <a:pt x="981" y="2059"/>
                    </a:lnTo>
                    <a:lnTo>
                      <a:pt x="950" y="2016"/>
                    </a:lnTo>
                    <a:lnTo>
                      <a:pt x="927" y="1972"/>
                    </a:lnTo>
                    <a:lnTo>
                      <a:pt x="908" y="1926"/>
                    </a:lnTo>
                    <a:lnTo>
                      <a:pt x="893" y="1881"/>
                    </a:lnTo>
                    <a:lnTo>
                      <a:pt x="882" y="1836"/>
                    </a:lnTo>
                    <a:lnTo>
                      <a:pt x="875" y="1793"/>
                    </a:lnTo>
                    <a:lnTo>
                      <a:pt x="871" y="1751"/>
                    </a:lnTo>
                    <a:lnTo>
                      <a:pt x="869" y="1713"/>
                    </a:lnTo>
                    <a:lnTo>
                      <a:pt x="869" y="1678"/>
                    </a:lnTo>
                    <a:lnTo>
                      <a:pt x="871" y="1648"/>
                    </a:lnTo>
                    <a:lnTo>
                      <a:pt x="811" y="1633"/>
                    </a:lnTo>
                    <a:lnTo>
                      <a:pt x="756" y="1612"/>
                    </a:lnTo>
                    <a:lnTo>
                      <a:pt x="707" y="1589"/>
                    </a:lnTo>
                    <a:lnTo>
                      <a:pt x="662" y="1563"/>
                    </a:lnTo>
                    <a:lnTo>
                      <a:pt x="622" y="1534"/>
                    </a:lnTo>
                    <a:lnTo>
                      <a:pt x="589" y="1501"/>
                    </a:lnTo>
                    <a:lnTo>
                      <a:pt x="563" y="1466"/>
                    </a:lnTo>
                    <a:lnTo>
                      <a:pt x="544" y="1429"/>
                    </a:lnTo>
                    <a:lnTo>
                      <a:pt x="532" y="1390"/>
                    </a:lnTo>
                    <a:lnTo>
                      <a:pt x="527" y="1350"/>
                    </a:lnTo>
                    <a:lnTo>
                      <a:pt x="530" y="1323"/>
                    </a:lnTo>
                    <a:lnTo>
                      <a:pt x="538" y="1298"/>
                    </a:lnTo>
                    <a:lnTo>
                      <a:pt x="551" y="1276"/>
                    </a:lnTo>
                    <a:lnTo>
                      <a:pt x="569" y="1255"/>
                    </a:lnTo>
                    <a:lnTo>
                      <a:pt x="588" y="1236"/>
                    </a:lnTo>
                    <a:lnTo>
                      <a:pt x="611" y="1218"/>
                    </a:lnTo>
                    <a:lnTo>
                      <a:pt x="636" y="1202"/>
                    </a:lnTo>
                    <a:lnTo>
                      <a:pt x="661" y="1186"/>
                    </a:lnTo>
                    <a:lnTo>
                      <a:pt x="687" y="1170"/>
                    </a:lnTo>
                    <a:lnTo>
                      <a:pt x="702" y="1162"/>
                    </a:lnTo>
                    <a:lnTo>
                      <a:pt x="698" y="1152"/>
                    </a:lnTo>
                    <a:lnTo>
                      <a:pt x="697" y="1141"/>
                    </a:lnTo>
                    <a:lnTo>
                      <a:pt x="651" y="721"/>
                    </a:lnTo>
                    <a:lnTo>
                      <a:pt x="627" y="745"/>
                    </a:lnTo>
                    <a:lnTo>
                      <a:pt x="587" y="777"/>
                    </a:lnTo>
                    <a:lnTo>
                      <a:pt x="543" y="802"/>
                    </a:lnTo>
                    <a:lnTo>
                      <a:pt x="497" y="821"/>
                    </a:lnTo>
                    <a:lnTo>
                      <a:pt x="449" y="832"/>
                    </a:lnTo>
                    <a:lnTo>
                      <a:pt x="401" y="836"/>
                    </a:lnTo>
                    <a:lnTo>
                      <a:pt x="383" y="835"/>
                    </a:lnTo>
                    <a:lnTo>
                      <a:pt x="339" y="829"/>
                    </a:lnTo>
                    <a:lnTo>
                      <a:pt x="292" y="817"/>
                    </a:lnTo>
                    <a:lnTo>
                      <a:pt x="243" y="800"/>
                    </a:lnTo>
                    <a:lnTo>
                      <a:pt x="197" y="778"/>
                    </a:lnTo>
                    <a:lnTo>
                      <a:pt x="151" y="754"/>
                    </a:lnTo>
                    <a:lnTo>
                      <a:pt x="110" y="725"/>
                    </a:lnTo>
                    <a:lnTo>
                      <a:pt x="73" y="696"/>
                    </a:lnTo>
                    <a:lnTo>
                      <a:pt x="41" y="664"/>
                    </a:lnTo>
                    <a:lnTo>
                      <a:pt x="19" y="632"/>
                    </a:lnTo>
                    <a:lnTo>
                      <a:pt x="6" y="608"/>
                    </a:lnTo>
                    <a:lnTo>
                      <a:pt x="0" y="584"/>
                    </a:lnTo>
                    <a:lnTo>
                      <a:pt x="0" y="563"/>
                    </a:lnTo>
                    <a:lnTo>
                      <a:pt x="2" y="547"/>
                    </a:lnTo>
                    <a:lnTo>
                      <a:pt x="6" y="532"/>
                    </a:lnTo>
                    <a:lnTo>
                      <a:pt x="22" y="506"/>
                    </a:lnTo>
                    <a:lnTo>
                      <a:pt x="44" y="477"/>
                    </a:lnTo>
                    <a:lnTo>
                      <a:pt x="71" y="448"/>
                    </a:lnTo>
                    <a:lnTo>
                      <a:pt x="104" y="420"/>
                    </a:lnTo>
                    <a:lnTo>
                      <a:pt x="141" y="393"/>
                    </a:lnTo>
                    <a:lnTo>
                      <a:pt x="183" y="366"/>
                    </a:lnTo>
                    <a:lnTo>
                      <a:pt x="227" y="344"/>
                    </a:lnTo>
                    <a:lnTo>
                      <a:pt x="274" y="326"/>
                    </a:lnTo>
                    <a:lnTo>
                      <a:pt x="323" y="314"/>
                    </a:lnTo>
                    <a:lnTo>
                      <a:pt x="374" y="307"/>
                    </a:lnTo>
                    <a:lnTo>
                      <a:pt x="425" y="307"/>
                    </a:lnTo>
                    <a:lnTo>
                      <a:pt x="476" y="315"/>
                    </a:lnTo>
                    <a:lnTo>
                      <a:pt x="516" y="329"/>
                    </a:lnTo>
                    <a:lnTo>
                      <a:pt x="558" y="350"/>
                    </a:lnTo>
                    <a:lnTo>
                      <a:pt x="598" y="376"/>
                    </a:lnTo>
                    <a:lnTo>
                      <a:pt x="633" y="408"/>
                    </a:lnTo>
                    <a:lnTo>
                      <a:pt x="667" y="444"/>
                    </a:lnTo>
                    <a:lnTo>
                      <a:pt x="671" y="439"/>
                    </a:lnTo>
                    <a:lnTo>
                      <a:pt x="676" y="434"/>
                    </a:lnTo>
                    <a:lnTo>
                      <a:pt x="758" y="366"/>
                    </a:lnTo>
                    <a:lnTo>
                      <a:pt x="712" y="328"/>
                    </a:lnTo>
                    <a:lnTo>
                      <a:pt x="671" y="284"/>
                    </a:lnTo>
                    <a:lnTo>
                      <a:pt x="635" y="234"/>
                    </a:lnTo>
                    <a:lnTo>
                      <a:pt x="603" y="179"/>
                    </a:lnTo>
                    <a:lnTo>
                      <a:pt x="578" y="118"/>
                    </a:lnTo>
                    <a:lnTo>
                      <a:pt x="559" y="54"/>
                    </a:lnTo>
                    <a:lnTo>
                      <a:pt x="558" y="36"/>
                    </a:lnTo>
                    <a:lnTo>
                      <a:pt x="563" y="20"/>
                    </a:lnTo>
                    <a:lnTo>
                      <a:pt x="574" y="8"/>
                    </a:lnTo>
                    <a:lnTo>
                      <a:pt x="591" y="0"/>
                    </a:lnTo>
                    <a:lnTo>
                      <a:pt x="607" y="0"/>
                    </a:lnTo>
                    <a:close/>
                  </a:path>
                </a:pathLst>
              </a:custGeom>
              <a:solidFill>
                <a:srgbClr val="59595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74808" name="Freeform 104"/>
              <p:cNvSpPr>
                <a:spLocks/>
              </p:cNvSpPr>
              <p:nvPr/>
            </p:nvSpPr>
            <p:spPr bwMode="auto">
              <a:xfrm>
                <a:off x="5631956" y="3222111"/>
                <a:ext cx="991795" cy="385134"/>
              </a:xfrm>
              <a:custGeom>
                <a:avLst/>
                <a:gdLst/>
                <a:ahLst/>
                <a:cxnLst/>
                <a:rect l="0" t="0" r="r" b="b"/>
                <a:pathLst>
                  <a:path w="991795" h="385134">
                    <a:moveTo>
                      <a:pt x="507580" y="121621"/>
                    </a:moveTo>
                    <a:lnTo>
                      <a:pt x="516601" y="122707"/>
                    </a:lnTo>
                    <a:lnTo>
                      <a:pt x="524180" y="125241"/>
                    </a:lnTo>
                    <a:lnTo>
                      <a:pt x="529593" y="129222"/>
                    </a:lnTo>
                    <a:lnTo>
                      <a:pt x="533923" y="134652"/>
                    </a:lnTo>
                    <a:lnTo>
                      <a:pt x="537171" y="141529"/>
                    </a:lnTo>
                    <a:lnTo>
                      <a:pt x="538975" y="150217"/>
                    </a:lnTo>
                    <a:lnTo>
                      <a:pt x="540058" y="159628"/>
                    </a:lnTo>
                    <a:lnTo>
                      <a:pt x="540058" y="170125"/>
                    </a:lnTo>
                    <a:lnTo>
                      <a:pt x="539336" y="180984"/>
                    </a:lnTo>
                    <a:lnTo>
                      <a:pt x="538614" y="193653"/>
                    </a:lnTo>
                    <a:lnTo>
                      <a:pt x="536449" y="206684"/>
                    </a:lnTo>
                    <a:lnTo>
                      <a:pt x="535006" y="220077"/>
                    </a:lnTo>
                    <a:lnTo>
                      <a:pt x="533201" y="234555"/>
                    </a:lnTo>
                    <a:lnTo>
                      <a:pt x="531036" y="249034"/>
                    </a:lnTo>
                    <a:lnTo>
                      <a:pt x="529593" y="263875"/>
                    </a:lnTo>
                    <a:lnTo>
                      <a:pt x="528149" y="278715"/>
                    </a:lnTo>
                    <a:lnTo>
                      <a:pt x="527066" y="293918"/>
                    </a:lnTo>
                    <a:lnTo>
                      <a:pt x="526706" y="308759"/>
                    </a:lnTo>
                    <a:lnTo>
                      <a:pt x="525984" y="324323"/>
                    </a:lnTo>
                    <a:lnTo>
                      <a:pt x="524180" y="337716"/>
                    </a:lnTo>
                    <a:lnTo>
                      <a:pt x="520932" y="349299"/>
                    </a:lnTo>
                    <a:lnTo>
                      <a:pt x="516962" y="358710"/>
                    </a:lnTo>
                    <a:lnTo>
                      <a:pt x="511549" y="366674"/>
                    </a:lnTo>
                    <a:lnTo>
                      <a:pt x="505775" y="373189"/>
                    </a:lnTo>
                    <a:lnTo>
                      <a:pt x="499280" y="377533"/>
                    </a:lnTo>
                    <a:lnTo>
                      <a:pt x="491340" y="381152"/>
                    </a:lnTo>
                    <a:lnTo>
                      <a:pt x="482680" y="383686"/>
                    </a:lnTo>
                    <a:lnTo>
                      <a:pt x="474019" y="384772"/>
                    </a:lnTo>
                    <a:lnTo>
                      <a:pt x="464275" y="385134"/>
                    </a:lnTo>
                    <a:lnTo>
                      <a:pt x="453810" y="385134"/>
                    </a:lnTo>
                    <a:lnTo>
                      <a:pt x="443345" y="384048"/>
                    </a:lnTo>
                    <a:lnTo>
                      <a:pt x="432158" y="382962"/>
                    </a:lnTo>
                    <a:lnTo>
                      <a:pt x="420610" y="381514"/>
                    </a:lnTo>
                    <a:lnTo>
                      <a:pt x="409062" y="380067"/>
                    </a:lnTo>
                    <a:lnTo>
                      <a:pt x="397154" y="378619"/>
                    </a:lnTo>
                    <a:lnTo>
                      <a:pt x="383801" y="376085"/>
                    </a:lnTo>
                    <a:lnTo>
                      <a:pt x="372254" y="372827"/>
                    </a:lnTo>
                    <a:lnTo>
                      <a:pt x="362871" y="368122"/>
                    </a:lnTo>
                    <a:lnTo>
                      <a:pt x="355654" y="362692"/>
                    </a:lnTo>
                    <a:lnTo>
                      <a:pt x="349158" y="356539"/>
                    </a:lnTo>
                    <a:lnTo>
                      <a:pt x="344106" y="350385"/>
                    </a:lnTo>
                    <a:lnTo>
                      <a:pt x="340136" y="343146"/>
                    </a:lnTo>
                    <a:lnTo>
                      <a:pt x="336527" y="335906"/>
                    </a:lnTo>
                    <a:lnTo>
                      <a:pt x="333641" y="328305"/>
                    </a:lnTo>
                    <a:lnTo>
                      <a:pt x="330754" y="320342"/>
                    </a:lnTo>
                    <a:lnTo>
                      <a:pt x="327506" y="312740"/>
                    </a:lnTo>
                    <a:lnTo>
                      <a:pt x="324619" y="305501"/>
                    </a:lnTo>
                    <a:lnTo>
                      <a:pt x="320649" y="298262"/>
                    </a:lnTo>
                    <a:lnTo>
                      <a:pt x="316319" y="291746"/>
                    </a:lnTo>
                    <a:lnTo>
                      <a:pt x="311267" y="284507"/>
                    </a:lnTo>
                    <a:lnTo>
                      <a:pt x="307297" y="278353"/>
                    </a:lnTo>
                    <a:lnTo>
                      <a:pt x="304410" y="272562"/>
                    </a:lnTo>
                    <a:lnTo>
                      <a:pt x="303327" y="266408"/>
                    </a:lnTo>
                    <a:lnTo>
                      <a:pt x="302606" y="260255"/>
                    </a:lnTo>
                    <a:lnTo>
                      <a:pt x="304410" y="254102"/>
                    </a:lnTo>
                    <a:lnTo>
                      <a:pt x="306575" y="246862"/>
                    </a:lnTo>
                    <a:lnTo>
                      <a:pt x="310906" y="238537"/>
                    </a:lnTo>
                    <a:lnTo>
                      <a:pt x="315597" y="229488"/>
                    </a:lnTo>
                    <a:lnTo>
                      <a:pt x="322093" y="218629"/>
                    </a:lnTo>
                    <a:lnTo>
                      <a:pt x="330032" y="205960"/>
                    </a:lnTo>
                    <a:lnTo>
                      <a:pt x="339414" y="191481"/>
                    </a:lnTo>
                    <a:lnTo>
                      <a:pt x="341219" y="191119"/>
                    </a:lnTo>
                    <a:lnTo>
                      <a:pt x="344106" y="188947"/>
                    </a:lnTo>
                    <a:lnTo>
                      <a:pt x="349158" y="186052"/>
                    </a:lnTo>
                    <a:lnTo>
                      <a:pt x="355654" y="181708"/>
                    </a:lnTo>
                    <a:lnTo>
                      <a:pt x="363954" y="176640"/>
                    </a:lnTo>
                    <a:lnTo>
                      <a:pt x="374058" y="171211"/>
                    </a:lnTo>
                    <a:lnTo>
                      <a:pt x="384884" y="165057"/>
                    </a:lnTo>
                    <a:lnTo>
                      <a:pt x="396793" y="159266"/>
                    </a:lnTo>
                    <a:lnTo>
                      <a:pt x="409784" y="152750"/>
                    </a:lnTo>
                    <a:lnTo>
                      <a:pt x="423136" y="146597"/>
                    </a:lnTo>
                    <a:lnTo>
                      <a:pt x="437571" y="140805"/>
                    </a:lnTo>
                    <a:lnTo>
                      <a:pt x="452006" y="135376"/>
                    </a:lnTo>
                    <a:lnTo>
                      <a:pt x="466801" y="130308"/>
                    </a:lnTo>
                    <a:lnTo>
                      <a:pt x="482319" y="126327"/>
                    </a:lnTo>
                    <a:lnTo>
                      <a:pt x="497114" y="122707"/>
                    </a:lnTo>
                    <a:close/>
                    <a:moveTo>
                      <a:pt x="31853" y="115106"/>
                    </a:moveTo>
                    <a:lnTo>
                      <a:pt x="222611" y="115106"/>
                    </a:lnTo>
                    <a:lnTo>
                      <a:pt x="242881" y="125659"/>
                    </a:lnTo>
                    <a:lnTo>
                      <a:pt x="243605" y="125659"/>
                    </a:lnTo>
                    <a:lnTo>
                      <a:pt x="251568" y="129661"/>
                    </a:lnTo>
                    <a:lnTo>
                      <a:pt x="259893" y="133664"/>
                    </a:lnTo>
                    <a:lnTo>
                      <a:pt x="267857" y="138395"/>
                    </a:lnTo>
                    <a:lnTo>
                      <a:pt x="263875" y="143853"/>
                    </a:lnTo>
                    <a:lnTo>
                      <a:pt x="257360" y="150039"/>
                    </a:lnTo>
                    <a:lnTo>
                      <a:pt x="249034" y="155861"/>
                    </a:lnTo>
                    <a:lnTo>
                      <a:pt x="238537" y="162047"/>
                    </a:lnTo>
                    <a:lnTo>
                      <a:pt x="221163" y="169325"/>
                    </a:lnTo>
                    <a:lnTo>
                      <a:pt x="201254" y="175511"/>
                    </a:lnTo>
                    <a:lnTo>
                      <a:pt x="180260" y="179877"/>
                    </a:lnTo>
                    <a:lnTo>
                      <a:pt x="157818" y="182788"/>
                    </a:lnTo>
                    <a:lnTo>
                      <a:pt x="134652" y="183880"/>
                    </a:lnTo>
                    <a:lnTo>
                      <a:pt x="111848" y="182788"/>
                    </a:lnTo>
                    <a:lnTo>
                      <a:pt x="89406" y="179877"/>
                    </a:lnTo>
                    <a:lnTo>
                      <a:pt x="68412" y="175511"/>
                    </a:lnTo>
                    <a:lnTo>
                      <a:pt x="48504" y="169325"/>
                    </a:lnTo>
                    <a:lnTo>
                      <a:pt x="31129" y="162047"/>
                    </a:lnTo>
                    <a:lnTo>
                      <a:pt x="19184" y="154769"/>
                    </a:lnTo>
                    <a:lnTo>
                      <a:pt x="10135" y="147856"/>
                    </a:lnTo>
                    <a:lnTo>
                      <a:pt x="3619" y="141306"/>
                    </a:lnTo>
                    <a:lnTo>
                      <a:pt x="0" y="135484"/>
                    </a:lnTo>
                    <a:lnTo>
                      <a:pt x="5429" y="131481"/>
                    </a:lnTo>
                    <a:lnTo>
                      <a:pt x="11945" y="127114"/>
                    </a:lnTo>
                    <a:lnTo>
                      <a:pt x="19184" y="123112"/>
                    </a:lnTo>
                    <a:lnTo>
                      <a:pt x="25700" y="119109"/>
                    </a:lnTo>
                    <a:close/>
                    <a:moveTo>
                      <a:pt x="770994" y="0"/>
                    </a:moveTo>
                    <a:lnTo>
                      <a:pt x="790178" y="1448"/>
                    </a:lnTo>
                    <a:lnTo>
                      <a:pt x="808639" y="5068"/>
                    </a:lnTo>
                    <a:lnTo>
                      <a:pt x="827099" y="9411"/>
                    </a:lnTo>
                    <a:lnTo>
                      <a:pt x="844112" y="15565"/>
                    </a:lnTo>
                    <a:lnTo>
                      <a:pt x="860762" y="22442"/>
                    </a:lnTo>
                    <a:lnTo>
                      <a:pt x="875603" y="30044"/>
                    </a:lnTo>
                    <a:lnTo>
                      <a:pt x="890082" y="38369"/>
                    </a:lnTo>
                    <a:lnTo>
                      <a:pt x="902389" y="47056"/>
                    </a:lnTo>
                    <a:lnTo>
                      <a:pt x="914334" y="55381"/>
                    </a:lnTo>
                    <a:lnTo>
                      <a:pt x="924469" y="63345"/>
                    </a:lnTo>
                    <a:lnTo>
                      <a:pt x="932794" y="70946"/>
                    </a:lnTo>
                    <a:lnTo>
                      <a:pt x="940034" y="77823"/>
                    </a:lnTo>
                    <a:lnTo>
                      <a:pt x="945101" y="83253"/>
                    </a:lnTo>
                    <a:lnTo>
                      <a:pt x="948359" y="87958"/>
                    </a:lnTo>
                    <a:lnTo>
                      <a:pt x="949807" y="90492"/>
                    </a:lnTo>
                    <a:lnTo>
                      <a:pt x="950893" y="93388"/>
                    </a:lnTo>
                    <a:lnTo>
                      <a:pt x="952341" y="98818"/>
                    </a:lnTo>
                    <a:lnTo>
                      <a:pt x="954512" y="106419"/>
                    </a:lnTo>
                    <a:lnTo>
                      <a:pt x="957408" y="115830"/>
                    </a:lnTo>
                    <a:lnTo>
                      <a:pt x="960304" y="126689"/>
                    </a:lnTo>
                    <a:lnTo>
                      <a:pt x="963924" y="138634"/>
                    </a:lnTo>
                    <a:lnTo>
                      <a:pt x="967543" y="152027"/>
                    </a:lnTo>
                    <a:lnTo>
                      <a:pt x="971525" y="166144"/>
                    </a:lnTo>
                    <a:lnTo>
                      <a:pt x="975507" y="180622"/>
                    </a:lnTo>
                    <a:lnTo>
                      <a:pt x="978764" y="195101"/>
                    </a:lnTo>
                    <a:lnTo>
                      <a:pt x="982384" y="209580"/>
                    </a:lnTo>
                    <a:lnTo>
                      <a:pt x="985280" y="223335"/>
                    </a:lnTo>
                    <a:lnTo>
                      <a:pt x="987814" y="237089"/>
                    </a:lnTo>
                    <a:lnTo>
                      <a:pt x="989985" y="249396"/>
                    </a:lnTo>
                    <a:lnTo>
                      <a:pt x="991433" y="260979"/>
                    </a:lnTo>
                    <a:lnTo>
                      <a:pt x="991795" y="270391"/>
                    </a:lnTo>
                    <a:lnTo>
                      <a:pt x="991795" y="278354"/>
                    </a:lnTo>
                    <a:lnTo>
                      <a:pt x="990347" y="284507"/>
                    </a:lnTo>
                    <a:lnTo>
                      <a:pt x="986728" y="289937"/>
                    </a:lnTo>
                    <a:lnTo>
                      <a:pt x="981298" y="295728"/>
                    </a:lnTo>
                    <a:lnTo>
                      <a:pt x="974421" y="302244"/>
                    </a:lnTo>
                    <a:lnTo>
                      <a:pt x="965010" y="308759"/>
                    </a:lnTo>
                    <a:lnTo>
                      <a:pt x="954512" y="315275"/>
                    </a:lnTo>
                    <a:lnTo>
                      <a:pt x="942929" y="321428"/>
                    </a:lnTo>
                    <a:lnTo>
                      <a:pt x="929899" y="327220"/>
                    </a:lnTo>
                    <a:lnTo>
                      <a:pt x="916506" y="332649"/>
                    </a:lnTo>
                    <a:lnTo>
                      <a:pt x="902389" y="337355"/>
                    </a:lnTo>
                    <a:lnTo>
                      <a:pt x="888634" y="340612"/>
                    </a:lnTo>
                    <a:lnTo>
                      <a:pt x="874155" y="343870"/>
                    </a:lnTo>
                    <a:lnTo>
                      <a:pt x="860038" y="344594"/>
                    </a:lnTo>
                    <a:lnTo>
                      <a:pt x="846646" y="344594"/>
                    </a:lnTo>
                    <a:lnTo>
                      <a:pt x="833615" y="343146"/>
                    </a:lnTo>
                    <a:lnTo>
                      <a:pt x="821670" y="339165"/>
                    </a:lnTo>
                    <a:lnTo>
                      <a:pt x="811173" y="334097"/>
                    </a:lnTo>
                    <a:lnTo>
                      <a:pt x="798142" y="325410"/>
                    </a:lnTo>
                    <a:lnTo>
                      <a:pt x="784387" y="315637"/>
                    </a:lnTo>
                    <a:lnTo>
                      <a:pt x="769908" y="305864"/>
                    </a:lnTo>
                    <a:lnTo>
                      <a:pt x="754705" y="295366"/>
                    </a:lnTo>
                    <a:lnTo>
                      <a:pt x="739865" y="284507"/>
                    </a:lnTo>
                    <a:lnTo>
                      <a:pt x="725024" y="273286"/>
                    </a:lnTo>
                    <a:lnTo>
                      <a:pt x="710545" y="262065"/>
                    </a:lnTo>
                    <a:lnTo>
                      <a:pt x="697152" y="251568"/>
                    </a:lnTo>
                    <a:lnTo>
                      <a:pt x="684483" y="241071"/>
                    </a:lnTo>
                    <a:lnTo>
                      <a:pt x="672900" y="231660"/>
                    </a:lnTo>
                    <a:lnTo>
                      <a:pt x="663489" y="222611"/>
                    </a:lnTo>
                    <a:lnTo>
                      <a:pt x="655526" y="215009"/>
                    </a:lnTo>
                    <a:lnTo>
                      <a:pt x="649734" y="208494"/>
                    </a:lnTo>
                    <a:lnTo>
                      <a:pt x="645753" y="202702"/>
                    </a:lnTo>
                    <a:lnTo>
                      <a:pt x="641047" y="195101"/>
                    </a:lnTo>
                    <a:lnTo>
                      <a:pt x="636703" y="187138"/>
                    </a:lnTo>
                    <a:lnTo>
                      <a:pt x="631998" y="177727"/>
                    </a:lnTo>
                    <a:lnTo>
                      <a:pt x="628016" y="167592"/>
                    </a:lnTo>
                    <a:lnTo>
                      <a:pt x="624759" y="157094"/>
                    </a:lnTo>
                    <a:lnTo>
                      <a:pt x="621139" y="146235"/>
                    </a:lnTo>
                    <a:lnTo>
                      <a:pt x="618605" y="135376"/>
                    </a:lnTo>
                    <a:lnTo>
                      <a:pt x="617157" y="124879"/>
                    </a:lnTo>
                    <a:lnTo>
                      <a:pt x="616071" y="114744"/>
                    </a:lnTo>
                    <a:lnTo>
                      <a:pt x="616795" y="104609"/>
                    </a:lnTo>
                    <a:lnTo>
                      <a:pt x="618243" y="96284"/>
                    </a:lnTo>
                    <a:lnTo>
                      <a:pt x="621139" y="88682"/>
                    </a:lnTo>
                    <a:lnTo>
                      <a:pt x="625844" y="82167"/>
                    </a:lnTo>
                    <a:lnTo>
                      <a:pt x="631998" y="77823"/>
                    </a:lnTo>
                    <a:lnTo>
                      <a:pt x="639599" y="73480"/>
                    </a:lnTo>
                    <a:lnTo>
                      <a:pt x="648287" y="68774"/>
                    </a:lnTo>
                    <a:lnTo>
                      <a:pt x="658060" y="63345"/>
                    </a:lnTo>
                    <a:lnTo>
                      <a:pt x="668557" y="57553"/>
                    </a:lnTo>
                    <a:lnTo>
                      <a:pt x="680140" y="51038"/>
                    </a:lnTo>
                    <a:lnTo>
                      <a:pt x="691361" y="44522"/>
                    </a:lnTo>
                    <a:lnTo>
                      <a:pt x="702944" y="38007"/>
                    </a:lnTo>
                    <a:lnTo>
                      <a:pt x="714527" y="31491"/>
                    </a:lnTo>
                    <a:lnTo>
                      <a:pt x="726110" y="25338"/>
                    </a:lnTo>
                    <a:lnTo>
                      <a:pt x="736245" y="19546"/>
                    </a:lnTo>
                    <a:lnTo>
                      <a:pt x="746018" y="14479"/>
                    </a:lnTo>
                    <a:lnTo>
                      <a:pt x="753981" y="9411"/>
                    </a:lnTo>
                    <a:lnTo>
                      <a:pt x="760859" y="5430"/>
                    </a:lnTo>
                    <a:lnTo>
                      <a:pt x="766288" y="2534"/>
                    </a:lnTo>
                    <a:lnTo>
                      <a:pt x="769184" y="1086"/>
                    </a:lnTo>
                    <a:close/>
                  </a:path>
                </a:pathLst>
              </a:custGeom>
              <a:solidFill>
                <a:srgbClr val="98A6CC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29" name="Shape 594">
            <a:extLst>
              <a:ext uri="{FF2B5EF4-FFF2-40B4-BE49-F238E27FC236}"/>
            </a:extLst>
          </p:cNvPr>
          <p:cNvSpPr txBox="1"/>
          <p:nvPr/>
        </p:nvSpPr>
        <p:spPr>
          <a:xfrm>
            <a:off x="485775" y="360363"/>
            <a:ext cx="8839200" cy="333375"/>
          </a:xfrm>
          <a:prstGeom prst="rect">
            <a:avLst/>
          </a:prstGeom>
          <a:noFill/>
          <a:ln>
            <a:noFill/>
          </a:ln>
        </p:spPr>
        <p:txBody>
          <a:bodyPr spcFirstLastPara="1" lIns="0" tIns="0" rIns="0" bIns="0">
            <a:spAutoFit/>
          </a:bodyPr>
          <a:lstStyle/>
          <a:p>
            <a:pPr marL="0" lvl="1" fontAlgn="auto">
              <a:spcBef>
                <a:spcPts val="0"/>
              </a:spcBef>
              <a:spcAft>
                <a:spcPts val="0"/>
              </a:spcAft>
              <a:buClr>
                <a:srgbClr val="008EC9"/>
              </a:buClr>
              <a:buSzPts val="1200"/>
              <a:defRPr/>
            </a:pPr>
            <a:r>
              <a:rPr lang="ru-RU" sz="2160" b="1" dirty="0">
                <a:solidFill>
                  <a:schemeClr val="bg1"/>
                </a:solidFill>
                <a:latin typeface="PT Sans Caption" panose="020B0603020203020204" pitchFamily="34" charset="0"/>
                <a:ea typeface="PT Sans Caption"/>
                <a:cs typeface="PT Sans Caption"/>
                <a:sym typeface="PT Sans Caption" panose="020B0603020203020204" pitchFamily="34" charset="0"/>
              </a:rPr>
              <a:t>Статус проектов маркировки</a:t>
            </a:r>
            <a:endParaRPr lang="bg-BG" sz="2160" b="1" dirty="0">
              <a:solidFill>
                <a:schemeClr val="bg1"/>
              </a:solidFill>
              <a:latin typeface="PT Sans Caption" panose="020B0603020203020204" pitchFamily="34" charset="0"/>
              <a:ea typeface="PT Sans Caption"/>
              <a:cs typeface="PT Sans Caption"/>
              <a:sym typeface="PT Sans Caption" panose="020B0603020203020204" pitchFamily="34" charset="0"/>
            </a:endParaRPr>
          </a:p>
        </p:txBody>
      </p:sp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MASTERWIZARD_MARGINS" val="0"/>
  <p:tag name="EE4P_LANGUAGE_ID" val="1033"/>
  <p:tag name="EE4P_STYLE_NAME" val="CRPT_yellow_grey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PT Sans Caption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PT Sans Caption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PT Sans Caption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PT Sans Caption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THINKCELLPRESENTATIONDONOTDELETE" val="&lt;?xml version=&quot;1.0&quot; encoding=&quot;UTF-16&quot; standalone=&quot;yes&quot;?&gt;&lt;root reqver=&quot;24162&quot;&gt;&lt;version val=&quot;27012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1FV1HQTfaT3yLo99uQ4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Documentation"/>
  <p:tag name="BCG_DESIGN" val="Case title"/>
  <p:tag name="EE4P_STRETCH" val="1"/>
  <p:tag name="EE4P_LAYOUT_ID" val="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fWhZseRESdA6M44g0U0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zAJcGGTA6by36kOytQO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=""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=""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53</TotalTime>
  <Words>1105</Words>
  <Application>Microsoft Office PowerPoint</Application>
  <PresentationFormat>Произвольный</PresentationFormat>
  <Paragraphs>256</Paragraphs>
  <Slides>23</Slides>
  <Notes>7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11</vt:i4>
      </vt:variant>
      <vt:variant>
        <vt:lpstr>Шаблон оформления</vt:lpstr>
      </vt:variant>
      <vt:variant>
        <vt:i4>6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  <vt:variant>
        <vt:lpstr>Произвольные показы</vt:lpstr>
      </vt:variant>
      <vt:variant>
        <vt:i4>1</vt:i4>
      </vt:variant>
    </vt:vector>
  </HeadingPairs>
  <TitlesOfParts>
    <vt:vector size="100" baseType="lpstr">
      <vt:lpstr>PT Sans Caption</vt:lpstr>
      <vt:lpstr>Arial</vt:lpstr>
      <vt:lpstr>Trebuchet MS</vt:lpstr>
      <vt:lpstr>Helvetica</vt:lpstr>
      <vt:lpstr>Open Sans</vt:lpstr>
      <vt:lpstr>Roboto</vt:lpstr>
      <vt:lpstr>Roboto Light</vt:lpstr>
      <vt:lpstr>+mj-lt</vt:lpstr>
      <vt:lpstr>Calibri</vt:lpstr>
      <vt:lpstr>Times New Roman</vt:lpstr>
      <vt:lpstr>PT Sans Caption 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2_BCG Grid 16:9</vt:lpstr>
      <vt:lpstr>think-cell Slide</vt:lpstr>
      <vt:lpstr>Национальная система цифровой   маркировки и прослеживания сигарет  Лев Авдеев</vt:lpstr>
      <vt:lpstr>Предпосылки</vt:lpstr>
      <vt:lpstr>Принято решение о создании единой системы маркировки и прослеживаемости товаров в РФ</vt:lpstr>
      <vt:lpstr>Слайд 3</vt:lpstr>
      <vt:lpstr>Слайд 4</vt:lpstr>
      <vt:lpstr>Слайд 5</vt:lpstr>
      <vt:lpstr>Модель функционирования системы маркировки</vt:lpstr>
      <vt:lpstr>Слайд 7</vt:lpstr>
      <vt:lpstr>Слайд 8</vt:lpstr>
      <vt:lpstr>Пилотный проект по маркировке табачной продукции </vt:lpstr>
      <vt:lpstr>Общественный контроль </vt:lpstr>
      <vt:lpstr>Порядок внедрения обязательной маркировки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пасибо за внимание! </vt:lpstr>
      <vt:lpstr>Format Guide Workshop</vt:lpstr>
    </vt:vector>
  </TitlesOfParts>
  <Manager/>
  <Company/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ркировка и прослеживаемость   Обзор проекта</dc:title>
  <dc:subject/>
  <dc:creator>Сидоров Алексей</dc:creator>
  <cp:keywords/>
  <dc:description/>
  <cp:lastModifiedBy>filimonova_o</cp:lastModifiedBy>
  <cp:revision>182</cp:revision>
  <cp:lastPrinted>2018-07-02T12:57:03Z</cp:lastPrinted>
  <dcterms:created xsi:type="dcterms:W3CDTF">2018-06-15T05:33:37Z</dcterms:created>
  <dcterms:modified xsi:type="dcterms:W3CDTF">2019-02-28T13:30:5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